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4" r:id="rId2"/>
    <p:sldMasterId id="2147483650" r:id="rId3"/>
  </p:sldMasterIdLst>
  <p:notesMasterIdLst>
    <p:notesMasterId r:id="rId20"/>
  </p:notesMasterIdLst>
  <p:handoutMasterIdLst>
    <p:handoutMasterId r:id="rId21"/>
  </p:handoutMasterIdLst>
  <p:sldIdLst>
    <p:sldId id="3330" r:id="rId4"/>
    <p:sldId id="3337" r:id="rId5"/>
    <p:sldId id="3339" r:id="rId6"/>
    <p:sldId id="3313" r:id="rId7"/>
    <p:sldId id="3340" r:id="rId8"/>
    <p:sldId id="3341" r:id="rId9"/>
    <p:sldId id="3352" r:id="rId10"/>
    <p:sldId id="3343" r:id="rId11"/>
    <p:sldId id="3346" r:id="rId12"/>
    <p:sldId id="3347" r:id="rId13"/>
    <p:sldId id="3350" r:id="rId14"/>
    <p:sldId id="261" r:id="rId15"/>
    <p:sldId id="3349" r:id="rId16"/>
    <p:sldId id="3318" r:id="rId17"/>
    <p:sldId id="3314" r:id="rId18"/>
    <p:sldId id="3338" r:id="rId19"/>
  </p:sldIdLst>
  <p:sldSz cx="12192000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543" userDrawn="1">
          <p15:clr>
            <a:srgbClr val="A4A3A4"/>
          </p15:clr>
        </p15:guide>
        <p15:guide id="4" orient="horz" pos="1207" userDrawn="1">
          <p15:clr>
            <a:srgbClr val="A4A3A4"/>
          </p15:clr>
        </p15:guide>
        <p15:guide id="5" orient="horz" pos="834" userDrawn="1">
          <p15:clr>
            <a:srgbClr val="A4A3A4"/>
          </p15:clr>
        </p15:guide>
        <p15:guide id="6" orient="horz" pos="1525" userDrawn="1">
          <p15:clr>
            <a:srgbClr val="A4A3A4"/>
          </p15:clr>
        </p15:guide>
        <p15:guide id="7" orient="horz" pos="4076" userDrawn="1">
          <p15:clr>
            <a:srgbClr val="A4A3A4"/>
          </p15:clr>
        </p15:guide>
        <p15:guide id="8" orient="horz" pos="4180" userDrawn="1">
          <p15:clr>
            <a:srgbClr val="A4A3A4"/>
          </p15:clr>
        </p15:guide>
        <p15:guide id="9" pos="596" userDrawn="1">
          <p15:clr>
            <a:srgbClr val="A4A3A4"/>
          </p15:clr>
        </p15:guide>
        <p15:guide id="10" pos="7151" userDrawn="1">
          <p15:clr>
            <a:srgbClr val="A4A3A4"/>
          </p15:clr>
        </p15:guide>
        <p15:guide id="11" orient="horz" pos="2704" userDrawn="1">
          <p15:clr>
            <a:srgbClr val="A4A3A4"/>
          </p15:clr>
        </p15:guide>
        <p15:guide id="12" orient="horz" pos="3294" userDrawn="1">
          <p15:clr>
            <a:srgbClr val="A4A3A4"/>
          </p15:clr>
        </p15:guide>
        <p15:guide id="13" orient="horz" pos="35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41100"/>
    <a:srgbClr val="000000"/>
    <a:srgbClr val="77F4D4"/>
    <a:srgbClr val="C9F2ED"/>
    <a:srgbClr val="A5E5EC"/>
    <a:srgbClr val="EB9093"/>
    <a:srgbClr val="DB0000"/>
    <a:srgbClr val="919292"/>
    <a:srgbClr val="7B7B7A"/>
    <a:srgbClr val="D379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8D230F3-CF80-4859-8CE7-A43EE81993B5}" styleName="Helle Formatvorlage 1 - Akz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Helle Formatvorlage 1 - Akz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85BE263C-DBD7-4A20-BB59-AAB30ACAA65A}" styleName="Mittlere Formatvorlage 3 - Akz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258"/>
    <p:restoredTop sz="96245"/>
  </p:normalViewPr>
  <p:slideViewPr>
    <p:cSldViewPr snapToObjects="1">
      <p:cViewPr varScale="1">
        <p:scale>
          <a:sx n="116" d="100"/>
          <a:sy n="116" d="100"/>
        </p:scale>
        <p:origin x="200" y="608"/>
      </p:cViewPr>
      <p:guideLst>
        <p:guide orient="horz" pos="2160"/>
        <p:guide pos="3840"/>
        <p:guide orient="horz" pos="543"/>
        <p:guide orient="horz" pos="1207"/>
        <p:guide orient="horz" pos="834"/>
        <p:guide orient="horz" pos="1525"/>
        <p:guide orient="horz" pos="4076"/>
        <p:guide orient="horz" pos="4180"/>
        <p:guide pos="596"/>
        <p:guide pos="7151"/>
        <p:guide orient="horz" pos="2704"/>
        <p:guide orient="horz" pos="3294"/>
        <p:guide orient="horz" pos="350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Objects="1">
      <p:cViewPr varScale="1">
        <p:scale>
          <a:sx n="84" d="100"/>
          <a:sy n="84" d="100"/>
        </p:scale>
        <p:origin x="275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28C88896-0DFA-284E-9A42-85006EBA1871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marL="12700" indent="-12700" algn="l">
            <a:tabLst/>
          </a:pPr>
          <a:r>
            <a:rPr lang="it-IT" sz="1200" b="0" baseline="0" dirty="0">
              <a:solidFill>
                <a:srgbClr val="941100"/>
              </a:solidFill>
            </a:rPr>
            <a:t>- in PCT</a:t>
          </a:r>
        </a:p>
        <a:p>
          <a:pPr marL="12700" indent="-12700" algn="just">
            <a:tabLst/>
          </a:pPr>
          <a:r>
            <a:rPr lang="it-IT" sz="1200" b="0" baseline="0" dirty="0">
              <a:solidFill>
                <a:srgbClr val="941100"/>
              </a:solidFill>
            </a:rPr>
            <a:t>- entro 40 gg se trattasi di integrazione del contraddittorio o rinnovo notifica (</a:t>
          </a:r>
          <a:r>
            <a:rPr lang="it-IT" sz="1200" b="0" i="1" baseline="0" dirty="0" err="1">
              <a:solidFill>
                <a:srgbClr val="941100"/>
              </a:solidFill>
            </a:rPr>
            <a:t>aliter</a:t>
          </a:r>
          <a:r>
            <a:rPr lang="it-IT" sz="1200" b="0" baseline="0" dirty="0">
              <a:solidFill>
                <a:srgbClr val="941100"/>
              </a:solidFill>
            </a:rPr>
            <a:t> </a:t>
          </a:r>
          <a:r>
            <a:rPr lang="it-IT" sz="1200" b="1" baseline="0" dirty="0">
              <a:solidFill>
                <a:srgbClr val="941100"/>
              </a:solidFill>
            </a:rPr>
            <a:t>entro 20 gg. dalla notificazione? NO: </a:t>
          </a:r>
          <a:r>
            <a:rPr lang="it-IT" sz="1200" b="0" baseline="0" dirty="0">
              <a:solidFill>
                <a:srgbClr val="941100"/>
              </a:solidFill>
            </a:rPr>
            <a:t>cfr. principio dell’unicità del processo di impugnazione: Cass. 2325/2023 e 4312/2023)</a:t>
          </a:r>
        </a:p>
        <a:p>
          <a:pPr marL="12700" indent="-12700" algn="l">
            <a:tabLst/>
          </a:pPr>
          <a:r>
            <a:rPr lang="it-IT" sz="1200" b="0" baseline="0" dirty="0">
              <a:solidFill>
                <a:srgbClr val="941100"/>
              </a:solidFill>
            </a:rPr>
            <a:t>- con copia della decisione impugnata </a:t>
          </a:r>
          <a:r>
            <a:rPr lang="it-IT" sz="1200" b="1" baseline="0" dirty="0">
              <a:solidFill>
                <a:srgbClr val="941100"/>
              </a:solidFill>
            </a:rPr>
            <a:t>solo</a:t>
          </a:r>
          <a:r>
            <a:rPr lang="it-IT" sz="1200" b="0" baseline="0" dirty="0">
              <a:solidFill>
                <a:srgbClr val="941100"/>
              </a:solidFill>
            </a:rPr>
            <a:t> se il ricorrente principale non abbia ottemperato (</a:t>
          </a:r>
          <a:r>
            <a:rPr lang="it-IT" sz="1200" b="0" u="sng" baseline="0" dirty="0">
              <a:solidFill>
                <a:srgbClr val="941100"/>
              </a:solidFill>
            </a:rPr>
            <a:t>comma immutato</a:t>
          </a:r>
          <a:r>
            <a:rPr lang="it-IT" sz="1200" b="0" baseline="0" dirty="0">
              <a:solidFill>
                <a:srgbClr val="941100"/>
              </a:solidFill>
            </a:rPr>
            <a:t>)</a:t>
          </a:r>
        </a:p>
      </dgm:t>
    </dgm:pt>
    <dgm:pt modelId="{2D64533F-054F-5E4D-9E07-1D9E6CF00433}" type="parTrans" cxnId="{29C36763-9693-B746-A607-49ECC19B70F4}">
      <dgm:prSet/>
      <dgm:spPr/>
      <dgm:t>
        <a:bodyPr/>
        <a:lstStyle/>
        <a:p>
          <a:endParaRPr lang="it-IT"/>
        </a:p>
      </dgm:t>
    </dgm:pt>
    <dgm:pt modelId="{E892FFC7-3065-2044-99EC-C082EC1289BC}" type="sibTrans" cxnId="{29C36763-9693-B746-A607-49ECC19B70F4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sz="1200" b="0" dirty="0">
              <a:solidFill>
                <a:srgbClr val="941100"/>
              </a:solidFill>
            </a:rPr>
            <a:t>- in PCT</a:t>
          </a:r>
        </a:p>
        <a:p>
          <a:r>
            <a:rPr lang="it-IT" sz="1200" b="0" dirty="0">
              <a:solidFill>
                <a:srgbClr val="941100"/>
              </a:solidFill>
            </a:rPr>
            <a:t>- entro 40 gg. «</a:t>
          </a:r>
          <a:r>
            <a:rPr lang="it-IT" sz="1200" b="0" i="1" dirty="0">
              <a:solidFill>
                <a:srgbClr val="941100"/>
              </a:solidFill>
            </a:rPr>
            <a:t>dalla notificazione del ricorso</a:t>
          </a:r>
          <a:r>
            <a:rPr lang="it-IT" sz="1200" b="0" dirty="0">
              <a:solidFill>
                <a:srgbClr val="941100"/>
              </a:solidFill>
            </a:rPr>
            <a:t>» (anche incidentale)</a:t>
          </a:r>
        </a:p>
        <a:p>
          <a:r>
            <a:rPr lang="it-IT" sz="1200" b="0" dirty="0">
              <a:solidFill>
                <a:srgbClr val="941100"/>
              </a:solidFill>
            </a:rPr>
            <a:t>- con atti, documenti e procura speciale</a:t>
          </a: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0" dirty="0">
              <a:solidFill>
                <a:srgbClr val="941100"/>
              </a:solidFill>
            </a:rPr>
            <a:t>- in PCT</a:t>
          </a:r>
        </a:p>
        <a:p>
          <a:pPr algn="l"/>
          <a:r>
            <a:rPr lang="it-IT" sz="1200" b="0" dirty="0">
              <a:solidFill>
                <a:srgbClr val="941100"/>
              </a:solidFill>
            </a:rPr>
            <a:t>- entro 20 gg. dall’ultima notifica (con la </a:t>
          </a:r>
          <a:r>
            <a:rPr lang="it-IT" sz="1200" b="1" dirty="0">
              <a:solidFill>
                <a:srgbClr val="941100"/>
              </a:solidFill>
            </a:rPr>
            <a:t>prova</a:t>
          </a:r>
          <a:r>
            <a:rPr lang="it-IT" sz="1200" b="0" dirty="0">
              <a:solidFill>
                <a:srgbClr val="941100"/>
              </a:solidFill>
            </a:rPr>
            <a:t> dell’avvenuta notificazione)</a:t>
          </a:r>
        </a:p>
        <a:p>
          <a:pPr algn="l"/>
          <a:r>
            <a:rPr lang="it-IT" sz="1200" b="0" dirty="0">
              <a:solidFill>
                <a:srgbClr val="941100"/>
              </a:solidFill>
            </a:rPr>
            <a:t>- senza istanza di trasmissione del fascicolo (III co. </a:t>
          </a:r>
          <a:r>
            <a:rPr lang="it-IT" sz="1200" b="1" dirty="0">
              <a:solidFill>
                <a:srgbClr val="941100"/>
              </a:solidFill>
            </a:rPr>
            <a:t>abrogato</a:t>
          </a:r>
          <a:r>
            <a:rPr lang="it-IT" sz="1200" b="0" dirty="0">
              <a:solidFill>
                <a:srgbClr val="941100"/>
              </a:solidFill>
            </a:rPr>
            <a:t>) </a:t>
          </a:r>
          <a:r>
            <a:rPr lang="it-IT" sz="1200" b="0" u="sng" dirty="0">
              <a:solidFill>
                <a:srgbClr val="941100"/>
              </a:solidFill>
            </a:rPr>
            <a:t>e senza le 7 copie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2"/>
      <dgm:spPr/>
    </dgm:pt>
    <dgm:pt modelId="{854990D9-8209-7349-AF55-E51E75BDB965}" type="pres">
      <dgm:prSet presAssocID="{938FDDB0-DE61-FB46-8EB9-C42942D76A83}" presName="dot2" presStyleLbl="alignNode1" presStyleIdx="1" presStyleCnt="12"/>
      <dgm:spPr/>
    </dgm:pt>
    <dgm:pt modelId="{DD391417-38E1-9D43-A395-27B18694A18D}" type="pres">
      <dgm:prSet presAssocID="{938FDDB0-DE61-FB46-8EB9-C42942D76A83}" presName="dot3" presStyleLbl="alignNode1" presStyleIdx="2" presStyleCnt="12"/>
      <dgm:spPr/>
    </dgm:pt>
    <dgm:pt modelId="{B2242D2F-616E-2F43-9845-48C3B2E5C10D}" type="pres">
      <dgm:prSet presAssocID="{938FDDB0-DE61-FB46-8EB9-C42942D76A83}" presName="dot4" presStyleLbl="alignNode1" presStyleIdx="3" presStyleCnt="12"/>
      <dgm:spPr/>
    </dgm:pt>
    <dgm:pt modelId="{ADA4637C-E545-1043-8586-141EAFC2DA3D}" type="pres">
      <dgm:prSet presAssocID="{938FDDB0-DE61-FB46-8EB9-C42942D76A83}" presName="dot5" presStyleLbl="alignNode1" presStyleIdx="4" presStyleCnt="12"/>
      <dgm:spPr/>
    </dgm:pt>
    <dgm:pt modelId="{41E57B03-9146-A34C-ADCA-CA576AC4C8F9}" type="pres">
      <dgm:prSet presAssocID="{938FDDB0-DE61-FB46-8EB9-C42942D76A83}" presName="dotArrow1" presStyleLbl="alignNode1" presStyleIdx="5" presStyleCnt="12" custLinFactY="130569" custLinFactNeighborY="200000"/>
      <dgm:spPr/>
    </dgm:pt>
    <dgm:pt modelId="{8ED45E39-4EDC-5C46-8959-60113D8DFB72}" type="pres">
      <dgm:prSet presAssocID="{938FDDB0-DE61-FB46-8EB9-C42942D76A83}" presName="dotArrow2" presStyleLbl="alignNode1" presStyleIdx="6" presStyleCnt="12" custLinFactY="166154" custLinFactNeighborY="200000"/>
      <dgm:spPr/>
    </dgm:pt>
    <dgm:pt modelId="{FEE20446-FD2F-E942-A5DB-3469BE499B02}" type="pres">
      <dgm:prSet presAssocID="{938FDDB0-DE61-FB46-8EB9-C42942D76A83}" presName="dotArrow3" presStyleLbl="alignNode1" presStyleIdx="7" presStyleCnt="12" custLinFactY="200000" custLinFactNeighborY="254425"/>
      <dgm:spPr/>
    </dgm:pt>
    <dgm:pt modelId="{D31B1761-8DC1-9548-807B-721048F3AEA6}" type="pres">
      <dgm:prSet presAssocID="{938FDDB0-DE61-FB46-8EB9-C42942D76A83}" presName="dotArrow4" presStyleLbl="alignNode1" presStyleIdx="8" presStyleCnt="12" custLinFactY="200000" custLinFactNeighborY="271525"/>
      <dgm:spPr/>
    </dgm:pt>
    <dgm:pt modelId="{A1131B47-C21C-7047-9FBD-99AA4AFF5416}" type="pres">
      <dgm:prSet presAssocID="{938FDDB0-DE61-FB46-8EB9-C42942D76A83}" presName="dotArrow5" presStyleLbl="alignNode1" presStyleIdx="9" presStyleCnt="12" custLinFactY="19826" custLinFactNeighborY="100000"/>
      <dgm:spPr/>
    </dgm:pt>
    <dgm:pt modelId="{5E739D56-E020-7D44-A36C-EE2C74388332}" type="pres">
      <dgm:prSet presAssocID="{938FDDB0-DE61-FB46-8EB9-C42942D76A83}" presName="dotArrow6" presStyleLbl="alignNode1" presStyleIdx="10" presStyleCnt="12" custLinFactY="173722" custLinFactNeighborX="-24466" custLinFactNeighborY="200000"/>
      <dgm:spPr/>
    </dgm:pt>
    <dgm:pt modelId="{C2FBE9BB-DF12-9F4E-8160-3CF338A7E931}" type="pres">
      <dgm:prSet presAssocID="{938FDDB0-DE61-FB46-8EB9-C42942D76A83}" presName="dotArrow7" presStyleLbl="alignNode1" presStyleIdx="11" presStyleCnt="12"/>
      <dgm:spPr/>
    </dgm:pt>
    <dgm:pt modelId="{A47B86B1-BE47-294C-8C41-C00A9B8C0B99}" type="pres">
      <dgm:prSet presAssocID="{28C88896-0DFA-284E-9A42-85006EBA1871}" presName="parTx1" presStyleLbl="node1" presStyleIdx="0" presStyleCnt="3" custScaleX="134325" custScaleY="259597" custLinFactNeighborX="65417" custLinFactNeighborY="13530"/>
      <dgm:spPr/>
    </dgm:pt>
    <dgm:pt modelId="{9E44FDC7-FFBC-EA4F-8198-C2C8AE06742B}" type="pres">
      <dgm:prSet presAssocID="{E892FFC7-3065-2044-99EC-C082EC1289BC}" presName="picture1" presStyleCnt="0"/>
      <dgm:spPr/>
    </dgm:pt>
    <dgm:pt modelId="{E5F18383-2709-A841-8867-14C3FFEEE035}" type="pres">
      <dgm:prSet presAssocID="{E892FFC7-3065-2044-99EC-C082EC1289BC}" presName="imageRepeatNode" presStyleLbl="fgImgPlace1" presStyleIdx="0" presStyleCnt="3" custScaleX="104990" custScaleY="104997" custLinFactNeighborX="85969" custLinFactNeighborY="3934"/>
      <dgm:spPr/>
    </dgm:pt>
    <dgm:pt modelId="{AE8B458B-F0F1-DB47-85D0-F7DD418C76B2}" type="pres">
      <dgm:prSet presAssocID="{7D8FB5C0-71F4-9E42-B4EF-419C794EF543}" presName="parTx2" presStyleLbl="node1" presStyleIdx="1" presStyleCnt="3" custScaleX="114407" custScaleY="154847" custLinFactNeighborX="11517" custLinFactNeighborY="-76026"/>
      <dgm:spPr/>
    </dgm:pt>
    <dgm:pt modelId="{1F683C7C-172C-A346-B398-6BCF36B285DC}" type="pres">
      <dgm:prSet presAssocID="{FE62BA06-C827-B241-A948-B4481A798572}" presName="picture2" presStyleCnt="0"/>
      <dgm:spPr/>
    </dgm:pt>
    <dgm:pt modelId="{E6688BFD-6BC7-AD44-A438-3DEE0833A02D}" type="pres">
      <dgm:prSet presAssocID="{FE62BA06-C827-B241-A948-B4481A798572}" presName="imageRepeatNode" presStyleLbl="fgImgPlace1" presStyleIdx="1" presStyleCnt="3" custScaleX="104990" custScaleY="104997" custLinFactNeighborX="12794" custLinFactNeighborY="-30451"/>
      <dgm:spPr/>
    </dgm:pt>
    <dgm:pt modelId="{A82A48F5-6912-954D-81EF-67DA47278EE8}" type="pres">
      <dgm:prSet presAssocID="{B055AB70-259D-6044-A7AE-783FA93AC6BD}" presName="parTx3" presStyleLbl="node1" presStyleIdx="2" presStyleCnt="3" custScaleX="90247" custScaleY="241380" custLinFactNeighborX="-657" custLinFactNeighborY="-85924"/>
      <dgm:spPr/>
    </dgm:pt>
    <dgm:pt modelId="{EA136A3C-E831-F54B-8EDE-F6E60E20FA33}" type="pres">
      <dgm:prSet presAssocID="{7A0B333A-4FC7-2443-9668-F2CDD41CC22E}" presName="picture3" presStyleCnt="0"/>
      <dgm:spPr/>
    </dgm:pt>
    <dgm:pt modelId="{E83022D8-BFFC-0C4D-9479-BA7FE8829A37}" type="pres">
      <dgm:prSet presAssocID="{7A0B333A-4FC7-2443-9668-F2CDD41CC22E}" presName="imageRepeatNode" presStyleLbl="fgImgPlace1" presStyleIdx="2" presStyleCnt="3" custScaleY="104997" custLinFactNeighborX="-4182" custLinFactNeighborY="-15825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F6498227-275A-E64F-9F85-622DBEA162DB}" srcId="{938FDDB0-DE61-FB46-8EB9-C42942D76A83}" destId="{7D8FB5C0-71F4-9E42-B4EF-419C794EF543}" srcOrd="1" destOrd="0" parTransId="{B6D61610-356F-6944-A94F-984E40DBD493}" sibTransId="{FE62BA06-C827-B241-A948-B4481A798572}"/>
    <dgm:cxn modelId="{E45D834F-59A2-AC43-9388-99A19591F675}" type="presOf" srcId="{B055AB70-259D-6044-A7AE-783FA93AC6BD}" destId="{A82A48F5-6912-954D-81EF-67DA47278EE8}" srcOrd="0" destOrd="0" presId="urn:microsoft.com/office/officeart/2008/layout/AscendingPictureAccentProcess"/>
    <dgm:cxn modelId="{29C36763-9693-B746-A607-49ECC19B70F4}" srcId="{938FDDB0-DE61-FB46-8EB9-C42942D76A83}" destId="{28C88896-0DFA-284E-9A42-85006EBA1871}" srcOrd="0" destOrd="0" parTransId="{2D64533F-054F-5E4D-9E07-1D9E6CF00433}" sibTransId="{E892FFC7-3065-2044-99EC-C082EC1289BC}"/>
    <dgm:cxn modelId="{6BD7528A-0032-9E49-9E65-E44C64C3A7EA}" type="presOf" srcId="{7D8FB5C0-71F4-9E42-B4EF-419C794EF543}" destId="{AE8B458B-F0F1-DB47-85D0-F7DD418C76B2}" srcOrd="0" destOrd="0" presId="urn:microsoft.com/office/officeart/2008/layout/AscendingPictureAccentProcess"/>
    <dgm:cxn modelId="{45A55F9C-D0C3-3B44-A985-8CD8E349EAC9}" type="presOf" srcId="{FE62BA06-C827-B241-A948-B4481A798572}" destId="{E6688BFD-6BC7-AD44-A438-3DEE0833A02D}" srcOrd="0" destOrd="0" presId="urn:microsoft.com/office/officeart/2008/layout/AscendingPictureAccentProcess"/>
    <dgm:cxn modelId="{1901B5B8-5ACE-0940-B4CA-F3BBC9655C48}" type="presOf" srcId="{E892FFC7-3065-2044-99EC-C082EC1289BC}" destId="{E5F18383-2709-A841-8867-14C3FFEEE035}" srcOrd="0" destOrd="0" presId="urn:microsoft.com/office/officeart/2008/layout/AscendingPictureAccentProcess"/>
    <dgm:cxn modelId="{68D57DF3-691D-384D-AB6C-64CA05EAFC59}" srcId="{938FDDB0-DE61-FB46-8EB9-C42942D76A83}" destId="{B055AB70-259D-6044-A7AE-783FA93AC6BD}" srcOrd="2" destOrd="0" parTransId="{11A336AC-5392-ED4B-9A17-DCC5576B455F}" sibTransId="{7A0B333A-4FC7-2443-9668-F2CDD41CC22E}"/>
    <dgm:cxn modelId="{7823E2F7-F940-2A47-994C-AA40914D0142}" type="presOf" srcId="{28C88896-0DFA-284E-9A42-85006EBA1871}" destId="{A47B86B1-BE47-294C-8C41-C00A9B8C0B99}" srcOrd="0" destOrd="0" presId="urn:microsoft.com/office/officeart/2008/layout/AscendingPictureAccentProcess"/>
    <dgm:cxn modelId="{E2E06FFF-A1C7-3F4E-BC4D-102171677257}" type="presOf" srcId="{7A0B333A-4FC7-2443-9668-F2CDD41CC22E}" destId="{E83022D8-BFFC-0C4D-9479-BA7FE8829A37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4FCF3A39-99D8-5B4F-9D5F-D44B043859B2}" type="presParOf" srcId="{39F9D213-A42D-2544-9519-27775061A362}" destId="{B2242D2F-616E-2F43-9845-48C3B2E5C10D}" srcOrd="3" destOrd="0" presId="urn:microsoft.com/office/officeart/2008/layout/AscendingPictureAccentProcess"/>
    <dgm:cxn modelId="{E7880ADA-B1A4-0B47-AFBF-D8E380D1C0D9}" type="presParOf" srcId="{39F9D213-A42D-2544-9519-27775061A362}" destId="{ADA4637C-E545-1043-8586-141EAFC2DA3D}" srcOrd="4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5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6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7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8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9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10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11" destOrd="0" presId="urn:microsoft.com/office/officeart/2008/layout/AscendingPictureAccentProcess"/>
    <dgm:cxn modelId="{62A4868D-6016-944E-9D32-D8F83AFF7410}" type="presParOf" srcId="{39F9D213-A42D-2544-9519-27775061A362}" destId="{A47B86B1-BE47-294C-8C41-C00A9B8C0B99}" srcOrd="12" destOrd="0" presId="urn:microsoft.com/office/officeart/2008/layout/AscendingPictureAccentProcess"/>
    <dgm:cxn modelId="{24549F36-6361-8549-9412-2B594303A3C7}" type="presParOf" srcId="{39F9D213-A42D-2544-9519-27775061A362}" destId="{9E44FDC7-FFBC-EA4F-8198-C2C8AE06742B}" srcOrd="13" destOrd="0" presId="urn:microsoft.com/office/officeart/2008/layout/AscendingPictureAccentProcess"/>
    <dgm:cxn modelId="{6DB6E16F-7B2B-4F40-8D1F-2E1C410A53D3}" type="presParOf" srcId="{9E44FDC7-FFBC-EA4F-8198-C2C8AE06742B}" destId="{E5F18383-2709-A841-8867-14C3FFEEE035}" srcOrd="0" destOrd="0" presId="urn:microsoft.com/office/officeart/2008/layout/AscendingPictureAccentProcess"/>
    <dgm:cxn modelId="{81F0F2C0-CAB3-F749-B879-A4BC17585C6B}" type="presParOf" srcId="{39F9D213-A42D-2544-9519-27775061A362}" destId="{AE8B458B-F0F1-DB47-85D0-F7DD418C76B2}" srcOrd="14" destOrd="0" presId="urn:microsoft.com/office/officeart/2008/layout/AscendingPictureAccentProcess"/>
    <dgm:cxn modelId="{EEA2DEC6-B7C6-FE42-9759-012798FC919B}" type="presParOf" srcId="{39F9D213-A42D-2544-9519-27775061A362}" destId="{1F683C7C-172C-A346-B398-6BCF36B285DC}" srcOrd="15" destOrd="0" presId="urn:microsoft.com/office/officeart/2008/layout/AscendingPictureAccentProcess"/>
    <dgm:cxn modelId="{AAC8B812-D40A-7A4B-B8B9-FE05AA414EA5}" type="presParOf" srcId="{1F683C7C-172C-A346-B398-6BCF36B285DC}" destId="{E6688BFD-6BC7-AD44-A438-3DEE0833A02D}" srcOrd="0" destOrd="0" presId="urn:microsoft.com/office/officeart/2008/layout/AscendingPictureAccentProcess"/>
    <dgm:cxn modelId="{E23DAD7E-ADEC-214E-9162-5A80836E10EF}" type="presParOf" srcId="{39F9D213-A42D-2544-9519-27775061A362}" destId="{A82A48F5-6912-954D-81EF-67DA47278EE8}" srcOrd="16" destOrd="0" presId="urn:microsoft.com/office/officeart/2008/layout/AscendingPictureAccentProcess"/>
    <dgm:cxn modelId="{97E86DEC-7798-4A4B-9950-F638758ECFFD}" type="presParOf" srcId="{39F9D213-A42D-2544-9519-27775061A362}" destId="{EA136A3C-E831-F54B-8EDE-F6E60E20FA33}" srcOrd="17" destOrd="0" presId="urn:microsoft.com/office/officeart/2008/layout/AscendingPictureAccentProcess"/>
    <dgm:cxn modelId="{95F04BC7-A120-3D40-990A-4833DE28C333}" type="presParOf" srcId="{EA136A3C-E831-F54B-8EDE-F6E60E20FA33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323479F-7E37-4B4B-A748-6EB0CAF020E4}" type="doc">
      <dgm:prSet loTypeId="urn:microsoft.com/office/officeart/2005/8/layout/vList5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it-IT"/>
        </a:p>
      </dgm:t>
    </dgm:pt>
    <dgm:pt modelId="{189F2E67-1914-1D40-8534-8A33D8AB6EC5}">
      <dgm:prSet custT="1"/>
      <dgm:spPr>
        <a:solidFill>
          <a:srgbClr val="941100"/>
        </a:solidFill>
      </dgm:spPr>
      <dgm:t>
        <a:bodyPr/>
        <a:lstStyle/>
        <a:p>
          <a:pPr algn="just"/>
          <a:r>
            <a:rPr lang="it-IT" sz="1800" b="1" dirty="0"/>
            <a:t>PROTOCOLLI (2015 SU REDAZIONE ATTI e 2020 SU DIGITALIZZAZIONE ATTI, oggi </a:t>
          </a:r>
          <a:r>
            <a:rPr lang="it-IT" sz="1800" b="1" u="sng" dirty="0"/>
            <a:t>sostituiti</a:t>
          </a:r>
          <a:r>
            <a:rPr lang="it-IT" sz="1800" b="1" dirty="0"/>
            <a:t> tutti dal Protocollo del 1° marzo 2023)</a:t>
          </a:r>
        </a:p>
      </dgm:t>
    </dgm:pt>
    <dgm:pt modelId="{26CA0F5D-2A61-894C-B50C-198DE38CAB60}" type="parTrans" cxnId="{42D565D4-585E-3E42-8838-72CC5B4412BB}">
      <dgm:prSet/>
      <dgm:spPr/>
      <dgm:t>
        <a:bodyPr/>
        <a:lstStyle/>
        <a:p>
          <a:endParaRPr lang="it-IT"/>
        </a:p>
      </dgm:t>
    </dgm:pt>
    <dgm:pt modelId="{A4B69723-8331-B846-9331-0736B46A2BB2}" type="sibTrans" cxnId="{42D565D4-585E-3E42-8838-72CC5B4412BB}">
      <dgm:prSet/>
      <dgm:spPr/>
      <dgm:t>
        <a:bodyPr/>
        <a:lstStyle/>
        <a:p>
          <a:endParaRPr lang="it-IT"/>
        </a:p>
      </dgm:t>
    </dgm:pt>
    <dgm:pt modelId="{8AF97BE4-8C49-784A-BFB5-45FC1BD6FB85}">
      <dgm:prSet custT="1"/>
      <dgm:spPr>
        <a:solidFill>
          <a:schemeClr val="bg1">
            <a:lumMod val="65000"/>
          </a:schemeClr>
        </a:solidFill>
      </dgm:spPr>
      <dgm:t>
        <a:bodyPr/>
        <a:lstStyle/>
        <a:p>
          <a:pPr algn="just"/>
          <a:r>
            <a:rPr lang="it-IT" sz="1800" b="1" dirty="0">
              <a:solidFill>
                <a:srgbClr val="941100"/>
              </a:solidFill>
            </a:rPr>
            <a:t>RELAZIONI TEMATICHE SUL PROCESSO CIVILE (N. 96/2022 SUL GIUDIZIO DI CASSAZIONE; N. 110/2022 SUL PROCESSO DI PRIMO E SECONDO GRADO; N. 8/2023 DI INTEGRAZIONE E SU DISCIPLINA TRANSITORIA), DISPOSIZIONI ORGANIZZATIVE/COMUNICATI DELLA PRIMA PRESIDENZA</a:t>
          </a:r>
        </a:p>
      </dgm:t>
    </dgm:pt>
    <dgm:pt modelId="{261ACB33-E2F8-9442-89E5-6F9D53FFC618}" type="parTrans" cxnId="{AABC1DB4-B557-4549-B2E6-624368E351F1}">
      <dgm:prSet/>
      <dgm:spPr/>
      <dgm:t>
        <a:bodyPr/>
        <a:lstStyle/>
        <a:p>
          <a:endParaRPr lang="it-IT"/>
        </a:p>
      </dgm:t>
    </dgm:pt>
    <dgm:pt modelId="{BAD47764-EF53-5748-84C6-82D7ED5504A2}" type="sibTrans" cxnId="{AABC1DB4-B557-4549-B2E6-624368E351F1}">
      <dgm:prSet/>
      <dgm:spPr/>
      <dgm:t>
        <a:bodyPr/>
        <a:lstStyle/>
        <a:p>
          <a:endParaRPr lang="it-IT"/>
        </a:p>
      </dgm:t>
    </dgm:pt>
    <dgm:pt modelId="{19BB5AE2-FB16-DC43-8E06-88D8F886A8AD}">
      <dgm:prSet custT="1"/>
      <dgm:spPr>
        <a:solidFill>
          <a:srgbClr val="941100"/>
        </a:solidFill>
      </dgm:spPr>
      <dgm:t>
        <a:bodyPr/>
        <a:lstStyle/>
        <a:p>
          <a:pPr algn="l"/>
          <a:r>
            <a:rPr lang="it-IT" sz="2000" b="1" dirty="0"/>
            <a:t>RELAZIONE TEMATICA SUL PCT (2021)</a:t>
          </a:r>
        </a:p>
      </dgm:t>
    </dgm:pt>
    <dgm:pt modelId="{CC0D7EC3-C051-394A-9D9D-E396491F81E9}" type="parTrans" cxnId="{FE31B2DF-414A-4649-A8E4-ABDDE52471A8}">
      <dgm:prSet/>
      <dgm:spPr/>
      <dgm:t>
        <a:bodyPr/>
        <a:lstStyle/>
        <a:p>
          <a:endParaRPr lang="it-IT"/>
        </a:p>
      </dgm:t>
    </dgm:pt>
    <dgm:pt modelId="{8A0C9935-EE33-2C47-9C9F-9294F5965A0F}" type="sibTrans" cxnId="{FE31B2DF-414A-4649-A8E4-ABDDE52471A8}">
      <dgm:prSet/>
      <dgm:spPr/>
      <dgm:t>
        <a:bodyPr/>
        <a:lstStyle/>
        <a:p>
          <a:endParaRPr lang="it-IT"/>
        </a:p>
      </dgm:t>
    </dgm:pt>
    <dgm:pt modelId="{546D67D8-F319-E048-9371-8E8869FFCA8C}" type="pres">
      <dgm:prSet presAssocID="{1323479F-7E37-4B4B-A748-6EB0CAF020E4}" presName="Name0" presStyleCnt="0">
        <dgm:presLayoutVars>
          <dgm:dir/>
          <dgm:animLvl val="lvl"/>
          <dgm:resizeHandles val="exact"/>
        </dgm:presLayoutVars>
      </dgm:prSet>
      <dgm:spPr/>
    </dgm:pt>
    <dgm:pt modelId="{CE0A5077-4E96-5149-B317-0D6F9E71C207}" type="pres">
      <dgm:prSet presAssocID="{189F2E67-1914-1D40-8534-8A33D8AB6EC5}" presName="linNode" presStyleCnt="0"/>
      <dgm:spPr/>
    </dgm:pt>
    <dgm:pt modelId="{6BB8A1F5-39DD-2C43-980E-A5E578D7F1E0}" type="pres">
      <dgm:prSet presAssocID="{189F2E67-1914-1D40-8534-8A33D8AB6EC5}" presName="parentText" presStyleLbl="node1" presStyleIdx="0" presStyleCnt="3" custScaleX="273723" custScaleY="33964" custLinFactNeighborX="-717" custLinFactNeighborY="-13851">
        <dgm:presLayoutVars>
          <dgm:chMax val="1"/>
          <dgm:bulletEnabled val="1"/>
        </dgm:presLayoutVars>
      </dgm:prSet>
      <dgm:spPr/>
    </dgm:pt>
    <dgm:pt modelId="{3EA4936A-616C-FA4A-9A9B-2B1BC17BE476}" type="pres">
      <dgm:prSet presAssocID="{A4B69723-8331-B846-9331-0736B46A2BB2}" presName="sp" presStyleCnt="0"/>
      <dgm:spPr/>
    </dgm:pt>
    <dgm:pt modelId="{7A73361D-C20A-8B40-BE22-8E77440E9F6F}" type="pres">
      <dgm:prSet presAssocID="{8AF97BE4-8C49-784A-BFB5-45FC1BD6FB85}" presName="linNode" presStyleCnt="0"/>
      <dgm:spPr/>
    </dgm:pt>
    <dgm:pt modelId="{0FA89FD2-9563-A243-8D30-EDAD3E018FDE}" type="pres">
      <dgm:prSet presAssocID="{8AF97BE4-8C49-784A-BFB5-45FC1BD6FB85}" presName="parentText" presStyleLbl="node1" presStyleIdx="1" presStyleCnt="3" custScaleX="273723" custScaleY="33333" custLinFactNeighborY="-1880">
        <dgm:presLayoutVars>
          <dgm:chMax val="1"/>
          <dgm:bulletEnabled val="1"/>
        </dgm:presLayoutVars>
      </dgm:prSet>
      <dgm:spPr/>
    </dgm:pt>
    <dgm:pt modelId="{9769C884-506C-D749-A1C7-A09D38935D8E}" type="pres">
      <dgm:prSet presAssocID="{BAD47764-EF53-5748-84C6-82D7ED5504A2}" presName="sp" presStyleCnt="0"/>
      <dgm:spPr/>
    </dgm:pt>
    <dgm:pt modelId="{0DFD4159-72FB-E848-A709-C51280894323}" type="pres">
      <dgm:prSet presAssocID="{19BB5AE2-FB16-DC43-8E06-88D8F886A8AD}" presName="linNode" presStyleCnt="0"/>
      <dgm:spPr/>
    </dgm:pt>
    <dgm:pt modelId="{2A7826A3-0BD1-E649-A02A-F53CE46E1D89}" type="pres">
      <dgm:prSet presAssocID="{19BB5AE2-FB16-DC43-8E06-88D8F886A8AD}" presName="parentText" presStyleLbl="node1" presStyleIdx="2" presStyleCnt="3" custScaleX="273723" custScaleY="33964" custLinFactNeighborX="-717" custLinFactNeighborY="-3676">
        <dgm:presLayoutVars>
          <dgm:chMax val="1"/>
          <dgm:bulletEnabled val="1"/>
        </dgm:presLayoutVars>
      </dgm:prSet>
      <dgm:spPr/>
    </dgm:pt>
  </dgm:ptLst>
  <dgm:cxnLst>
    <dgm:cxn modelId="{BCF2B025-4009-634C-9965-626126A87A85}" type="presOf" srcId="{8AF97BE4-8C49-784A-BFB5-45FC1BD6FB85}" destId="{0FA89FD2-9563-A243-8D30-EDAD3E018FDE}" srcOrd="0" destOrd="0" presId="urn:microsoft.com/office/officeart/2005/8/layout/vList5"/>
    <dgm:cxn modelId="{00DD4284-B520-6743-9CB5-16DAE595561F}" type="presOf" srcId="{1323479F-7E37-4B4B-A748-6EB0CAF020E4}" destId="{546D67D8-F319-E048-9371-8E8869FFCA8C}" srcOrd="0" destOrd="0" presId="urn:microsoft.com/office/officeart/2005/8/layout/vList5"/>
    <dgm:cxn modelId="{FA48878D-657E-234A-B068-F5BE53313CF8}" type="presOf" srcId="{19BB5AE2-FB16-DC43-8E06-88D8F886A8AD}" destId="{2A7826A3-0BD1-E649-A02A-F53CE46E1D89}" srcOrd="0" destOrd="0" presId="urn:microsoft.com/office/officeart/2005/8/layout/vList5"/>
    <dgm:cxn modelId="{AB72FAA8-C8E0-ED4E-9210-37142827B66F}" type="presOf" srcId="{189F2E67-1914-1D40-8534-8A33D8AB6EC5}" destId="{6BB8A1F5-39DD-2C43-980E-A5E578D7F1E0}" srcOrd="0" destOrd="0" presId="urn:microsoft.com/office/officeart/2005/8/layout/vList5"/>
    <dgm:cxn modelId="{AABC1DB4-B557-4549-B2E6-624368E351F1}" srcId="{1323479F-7E37-4B4B-A748-6EB0CAF020E4}" destId="{8AF97BE4-8C49-784A-BFB5-45FC1BD6FB85}" srcOrd="1" destOrd="0" parTransId="{261ACB33-E2F8-9442-89E5-6F9D53FFC618}" sibTransId="{BAD47764-EF53-5748-84C6-82D7ED5504A2}"/>
    <dgm:cxn modelId="{42D565D4-585E-3E42-8838-72CC5B4412BB}" srcId="{1323479F-7E37-4B4B-A748-6EB0CAF020E4}" destId="{189F2E67-1914-1D40-8534-8A33D8AB6EC5}" srcOrd="0" destOrd="0" parTransId="{26CA0F5D-2A61-894C-B50C-198DE38CAB60}" sibTransId="{A4B69723-8331-B846-9331-0736B46A2BB2}"/>
    <dgm:cxn modelId="{FE31B2DF-414A-4649-A8E4-ABDDE52471A8}" srcId="{1323479F-7E37-4B4B-A748-6EB0CAF020E4}" destId="{19BB5AE2-FB16-DC43-8E06-88D8F886A8AD}" srcOrd="2" destOrd="0" parTransId="{CC0D7EC3-C051-394A-9D9D-E396491F81E9}" sibTransId="{8A0C9935-EE33-2C47-9C9F-9294F5965A0F}"/>
    <dgm:cxn modelId="{C11ACC45-3CD1-2C4C-9FA1-482FE64AE503}" type="presParOf" srcId="{546D67D8-F319-E048-9371-8E8869FFCA8C}" destId="{CE0A5077-4E96-5149-B317-0D6F9E71C207}" srcOrd="0" destOrd="0" presId="urn:microsoft.com/office/officeart/2005/8/layout/vList5"/>
    <dgm:cxn modelId="{39D6EEB6-3A67-3441-A33D-7206184E4A7C}" type="presParOf" srcId="{CE0A5077-4E96-5149-B317-0D6F9E71C207}" destId="{6BB8A1F5-39DD-2C43-980E-A5E578D7F1E0}" srcOrd="0" destOrd="0" presId="urn:microsoft.com/office/officeart/2005/8/layout/vList5"/>
    <dgm:cxn modelId="{CADDC6C1-EC69-8946-8F2C-BD39B957E3E9}" type="presParOf" srcId="{546D67D8-F319-E048-9371-8E8869FFCA8C}" destId="{3EA4936A-616C-FA4A-9A9B-2B1BC17BE476}" srcOrd="1" destOrd="0" presId="urn:microsoft.com/office/officeart/2005/8/layout/vList5"/>
    <dgm:cxn modelId="{7812FF98-7ABE-9A40-AA5A-DB8FBD69973C}" type="presParOf" srcId="{546D67D8-F319-E048-9371-8E8869FFCA8C}" destId="{7A73361D-C20A-8B40-BE22-8E77440E9F6F}" srcOrd="2" destOrd="0" presId="urn:microsoft.com/office/officeart/2005/8/layout/vList5"/>
    <dgm:cxn modelId="{914B75B0-CB1C-BB4A-842C-91E1A3287675}" type="presParOf" srcId="{7A73361D-C20A-8B40-BE22-8E77440E9F6F}" destId="{0FA89FD2-9563-A243-8D30-EDAD3E018FDE}" srcOrd="0" destOrd="0" presId="urn:microsoft.com/office/officeart/2005/8/layout/vList5"/>
    <dgm:cxn modelId="{7CEA1BA2-5EA0-1949-88E0-C9F0BFB5CD36}" type="presParOf" srcId="{546D67D8-F319-E048-9371-8E8869FFCA8C}" destId="{9769C884-506C-D749-A1C7-A09D38935D8E}" srcOrd="3" destOrd="0" presId="urn:microsoft.com/office/officeart/2005/8/layout/vList5"/>
    <dgm:cxn modelId="{E14766C0-C552-9544-8DDC-562FFF224C04}" type="presParOf" srcId="{546D67D8-F319-E048-9371-8E8869FFCA8C}" destId="{0DFD4159-72FB-E848-A709-C51280894323}" srcOrd="4" destOrd="0" presId="urn:microsoft.com/office/officeart/2005/8/layout/vList5"/>
    <dgm:cxn modelId="{A3635CD6-533A-4E49-B6DF-CC315C3AC85B}" type="presParOf" srcId="{0DFD4159-72FB-E848-A709-C51280894323}" destId="{2A7826A3-0BD1-E649-A02A-F53CE46E1D89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28C88896-0DFA-284E-9A42-85006EBA1871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marL="12700" indent="-12700" algn="just">
            <a:tabLst/>
          </a:pPr>
          <a:r>
            <a:rPr lang="it-IT" sz="1200" b="0" baseline="0" dirty="0">
              <a:solidFill>
                <a:srgbClr val="941100"/>
              </a:solidFill>
            </a:rPr>
            <a:t>- in PCT</a:t>
          </a:r>
        </a:p>
        <a:p>
          <a:pPr marL="12700" indent="-12700" algn="just">
            <a:tabLst/>
          </a:pPr>
          <a:r>
            <a:rPr lang="it-IT" sz="1200" b="0" baseline="0" dirty="0">
              <a:solidFill>
                <a:srgbClr val="941100"/>
              </a:solidFill>
            </a:rPr>
            <a:t>- </a:t>
          </a:r>
          <a:r>
            <a:rPr lang="it-IT" sz="1200" b="1" baseline="0" dirty="0">
              <a:solidFill>
                <a:srgbClr val="941100"/>
              </a:solidFill>
            </a:rPr>
            <a:t>del P.M.</a:t>
          </a:r>
          <a:r>
            <a:rPr lang="it-IT" sz="1200" b="0" baseline="0" dirty="0">
              <a:solidFill>
                <a:srgbClr val="941100"/>
              </a:solidFill>
            </a:rPr>
            <a:t>: 20 gg. prima (se adunanza camerale: «</a:t>
          </a:r>
          <a:r>
            <a:rPr lang="it-IT" sz="1200" b="0" i="1" baseline="0" dirty="0">
              <a:solidFill>
                <a:srgbClr val="941100"/>
              </a:solidFill>
            </a:rPr>
            <a:t>conclusioni scritte</a:t>
          </a:r>
          <a:r>
            <a:rPr lang="it-IT" sz="1200" b="0" baseline="0" dirty="0">
              <a:solidFill>
                <a:srgbClr val="941100"/>
              </a:solidFill>
            </a:rPr>
            <a:t>»)</a:t>
          </a:r>
        </a:p>
        <a:p>
          <a:pPr marL="12700" indent="-12700" algn="just">
            <a:tabLst/>
          </a:pPr>
          <a:r>
            <a:rPr lang="it-IT" sz="1200" b="0" baseline="0" dirty="0">
              <a:solidFill>
                <a:srgbClr val="941100"/>
              </a:solidFill>
            </a:rPr>
            <a:t>- </a:t>
          </a:r>
          <a:r>
            <a:rPr lang="it-IT" sz="1200" b="1" baseline="0" dirty="0">
              <a:solidFill>
                <a:srgbClr val="941100"/>
              </a:solidFill>
            </a:rPr>
            <a:t>delle Parti:</a:t>
          </a:r>
          <a:r>
            <a:rPr lang="it-IT" sz="1200" b="0" baseline="0" dirty="0">
              <a:solidFill>
                <a:srgbClr val="941100"/>
              </a:solidFill>
            </a:rPr>
            <a:t> 10 gg. prima</a:t>
          </a:r>
        </a:p>
        <a:p>
          <a:pPr marL="12700" indent="-12700" algn="just">
            <a:tabLst/>
          </a:pPr>
          <a:r>
            <a:rPr lang="it-IT" sz="1200" b="0" baseline="0" dirty="0">
              <a:solidFill>
                <a:srgbClr val="941100"/>
              </a:solidFill>
            </a:rPr>
            <a:t>- senza copie in carta libera (art. 140 disp. att.: </a:t>
          </a:r>
          <a:r>
            <a:rPr lang="it-IT" sz="1200" b="1" baseline="0" dirty="0">
              <a:solidFill>
                <a:srgbClr val="941100"/>
              </a:solidFill>
            </a:rPr>
            <a:t>abrogato</a:t>
          </a:r>
          <a:r>
            <a:rPr lang="it-IT" sz="1200" b="0" baseline="0" dirty="0">
              <a:solidFill>
                <a:srgbClr val="941100"/>
              </a:solidFill>
            </a:rPr>
            <a:t>)</a:t>
          </a:r>
          <a:endParaRPr lang="it-IT" sz="1200" b="0" dirty="0">
            <a:solidFill>
              <a:srgbClr val="941100"/>
            </a:solidFill>
          </a:endParaRPr>
        </a:p>
      </dgm:t>
    </dgm:pt>
    <dgm:pt modelId="{2D64533F-054F-5E4D-9E07-1D9E6CF00433}" type="parTrans" cxnId="{29C36763-9693-B746-A607-49ECC19B70F4}">
      <dgm:prSet/>
      <dgm:spPr/>
      <dgm:t>
        <a:bodyPr/>
        <a:lstStyle/>
        <a:p>
          <a:endParaRPr lang="it-IT"/>
        </a:p>
      </dgm:t>
    </dgm:pt>
    <dgm:pt modelId="{E892FFC7-3065-2044-99EC-C082EC1289BC}" type="sibTrans" cxnId="{29C36763-9693-B746-A607-49ECC19B70F4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baseline="0" dirty="0">
              <a:solidFill>
                <a:srgbClr val="941100"/>
              </a:solidFill>
            </a:rPr>
            <a:t> </a:t>
          </a:r>
          <a:r>
            <a:rPr lang="it-IT" sz="1200" b="0" baseline="0" dirty="0">
              <a:solidFill>
                <a:srgbClr val="941100"/>
              </a:solidFill>
            </a:rPr>
            <a:t>- in PCT;</a:t>
          </a: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con atto </a:t>
          </a:r>
          <a:r>
            <a:rPr lang="it-IT" sz="1200" b="0" u="sng" baseline="0" dirty="0">
              <a:solidFill>
                <a:srgbClr val="941100"/>
              </a:solidFill>
            </a:rPr>
            <a:t>depositato</a:t>
          </a:r>
          <a:r>
            <a:rPr lang="it-IT" sz="1200" b="0" baseline="0" dirty="0">
              <a:solidFill>
                <a:srgbClr val="941100"/>
              </a:solidFill>
            </a:rPr>
            <a:t> </a:t>
          </a:r>
          <a:r>
            <a:rPr lang="it-IT" sz="1200" b="1" baseline="0" dirty="0">
              <a:solidFill>
                <a:srgbClr val="941100"/>
              </a:solidFill>
            </a:rPr>
            <a:t>prima</a:t>
          </a:r>
          <a:r>
            <a:rPr lang="it-IT" sz="1200" b="0" baseline="0" dirty="0">
              <a:solidFill>
                <a:srgbClr val="941100"/>
              </a:solidFill>
            </a:rPr>
            <a:t> dell’inizio della Relazione in P.U. ovvero </a:t>
          </a:r>
          <a:r>
            <a:rPr lang="it-IT" sz="1200" b="1" baseline="0" dirty="0">
              <a:solidFill>
                <a:srgbClr val="941100"/>
              </a:solidFill>
            </a:rPr>
            <a:t>prima</a:t>
          </a:r>
          <a:r>
            <a:rPr lang="it-IT" sz="1200" b="0" baseline="0" dirty="0">
              <a:solidFill>
                <a:srgbClr val="941100"/>
              </a:solidFill>
            </a:rPr>
            <a:t> dell’adunanza</a:t>
          </a: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</a:t>
          </a:r>
          <a:r>
            <a:rPr lang="it-IT" sz="1200" b="1" baseline="0" dirty="0">
              <a:solidFill>
                <a:srgbClr val="941100"/>
              </a:solidFill>
            </a:rPr>
            <a:t>comunicazione</a:t>
          </a:r>
          <a:r>
            <a:rPr lang="it-IT" sz="1200" b="0" baseline="0" dirty="0">
              <a:solidFill>
                <a:srgbClr val="941100"/>
              </a:solidFill>
            </a:rPr>
            <a:t> a cura della Cancelleria</a:t>
          </a:r>
          <a:r>
            <a:rPr lang="it-IT" sz="1100" b="0" baseline="0" dirty="0">
              <a:solidFill>
                <a:srgbClr val="941100"/>
              </a:solidFill>
            </a:rPr>
            <a:t> </a:t>
          </a:r>
          <a:endParaRPr lang="it-IT" sz="1100" b="0" dirty="0">
            <a:solidFill>
              <a:srgbClr val="941100"/>
            </a:solidFill>
          </a:endParaRP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0" dirty="0">
              <a:solidFill>
                <a:srgbClr val="941100"/>
              </a:solidFill>
            </a:rPr>
            <a:t>- in PCT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entro 15 gg. prima dell’udienza o dell’adunanza camerale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2" custLinFactY="57711" custLinFactNeighborY="100000"/>
      <dgm:spPr/>
    </dgm:pt>
    <dgm:pt modelId="{854990D9-8209-7349-AF55-E51E75BDB965}" type="pres">
      <dgm:prSet presAssocID="{938FDDB0-DE61-FB46-8EB9-C42942D76A83}" presName="dot2" presStyleLbl="alignNode1" presStyleIdx="1" presStyleCnt="12"/>
      <dgm:spPr/>
    </dgm:pt>
    <dgm:pt modelId="{DD391417-38E1-9D43-A395-27B18694A18D}" type="pres">
      <dgm:prSet presAssocID="{938FDDB0-DE61-FB46-8EB9-C42942D76A83}" presName="dot3" presStyleLbl="alignNode1" presStyleIdx="2" presStyleCnt="12"/>
      <dgm:spPr/>
    </dgm:pt>
    <dgm:pt modelId="{B2242D2F-616E-2F43-9845-48C3B2E5C10D}" type="pres">
      <dgm:prSet presAssocID="{938FDDB0-DE61-FB46-8EB9-C42942D76A83}" presName="dot4" presStyleLbl="alignNode1" presStyleIdx="3" presStyleCnt="12"/>
      <dgm:spPr/>
    </dgm:pt>
    <dgm:pt modelId="{ADA4637C-E545-1043-8586-141EAFC2DA3D}" type="pres">
      <dgm:prSet presAssocID="{938FDDB0-DE61-FB46-8EB9-C42942D76A83}" presName="dot5" presStyleLbl="alignNode1" presStyleIdx="4" presStyleCnt="12"/>
      <dgm:spPr/>
    </dgm:pt>
    <dgm:pt modelId="{41E57B03-9146-A34C-ADCA-CA576AC4C8F9}" type="pres">
      <dgm:prSet presAssocID="{938FDDB0-DE61-FB46-8EB9-C42942D76A83}" presName="dotArrow1" presStyleLbl="alignNode1" presStyleIdx="5" presStyleCnt="12" custLinFactY="193192" custLinFactNeighborY="200000"/>
      <dgm:spPr/>
    </dgm:pt>
    <dgm:pt modelId="{8ED45E39-4EDC-5C46-8959-60113D8DFB72}" type="pres">
      <dgm:prSet presAssocID="{938FDDB0-DE61-FB46-8EB9-C42942D76A83}" presName="dotArrow2" presStyleLbl="alignNode1" presStyleIdx="6" presStyleCnt="12" custLinFactY="200000" custLinFactNeighborY="228962"/>
      <dgm:spPr/>
    </dgm:pt>
    <dgm:pt modelId="{FEE20446-FD2F-E942-A5DB-3469BE499B02}" type="pres">
      <dgm:prSet presAssocID="{938FDDB0-DE61-FB46-8EB9-C42942D76A83}" presName="dotArrow3" presStyleLbl="alignNode1" presStyleIdx="7" presStyleCnt="12" custLinFactY="300000" custLinFactNeighborY="322234"/>
      <dgm:spPr/>
    </dgm:pt>
    <dgm:pt modelId="{D31B1761-8DC1-9548-807B-721048F3AEA6}" type="pres">
      <dgm:prSet presAssocID="{938FDDB0-DE61-FB46-8EB9-C42942D76A83}" presName="dotArrow4" presStyleLbl="alignNode1" presStyleIdx="8" presStyleCnt="12" custLinFactY="233964" custLinFactNeighborY="300000"/>
      <dgm:spPr/>
    </dgm:pt>
    <dgm:pt modelId="{A1131B47-C21C-7047-9FBD-99AA4AFF5416}" type="pres">
      <dgm:prSet presAssocID="{938FDDB0-DE61-FB46-8EB9-C42942D76A83}" presName="dotArrow5" presStyleLbl="alignNode1" presStyleIdx="9" presStyleCnt="12" custLinFactY="30689" custLinFactNeighborY="100000"/>
      <dgm:spPr/>
    </dgm:pt>
    <dgm:pt modelId="{5E739D56-E020-7D44-A36C-EE2C74388332}" type="pres">
      <dgm:prSet presAssocID="{938FDDB0-DE61-FB46-8EB9-C42942D76A83}" presName="dotArrow6" presStyleLbl="alignNode1" presStyleIdx="10" presStyleCnt="12" custLinFactY="183659" custLinFactNeighborY="200000"/>
      <dgm:spPr/>
    </dgm:pt>
    <dgm:pt modelId="{C2FBE9BB-DF12-9F4E-8160-3CF338A7E931}" type="pres">
      <dgm:prSet presAssocID="{938FDDB0-DE61-FB46-8EB9-C42942D76A83}" presName="dotArrow7" presStyleLbl="alignNode1" presStyleIdx="11" presStyleCnt="12"/>
      <dgm:spPr/>
    </dgm:pt>
    <dgm:pt modelId="{A47B86B1-BE47-294C-8C41-C00A9B8C0B99}" type="pres">
      <dgm:prSet presAssocID="{28C88896-0DFA-284E-9A42-85006EBA1871}" presName="parTx1" presStyleLbl="node1" presStyleIdx="0" presStyleCnt="3" custScaleX="109516" custScaleY="204225" custLinFactNeighborX="44504" custLinFactNeighborY="-11298"/>
      <dgm:spPr/>
    </dgm:pt>
    <dgm:pt modelId="{9E44FDC7-FFBC-EA4F-8198-C2C8AE06742B}" type="pres">
      <dgm:prSet presAssocID="{E892FFC7-3065-2044-99EC-C082EC1289BC}" presName="picture1" presStyleCnt="0"/>
      <dgm:spPr/>
    </dgm:pt>
    <dgm:pt modelId="{E5F18383-2709-A841-8867-14C3FFEEE035}" type="pres">
      <dgm:prSet presAssocID="{E892FFC7-3065-2044-99EC-C082EC1289BC}" presName="imageRepeatNode" presStyleLbl="fgImgPlace1" presStyleIdx="0" presStyleCnt="3" custScaleX="104990" custScaleY="104997" custLinFactNeighborX="85969" custLinFactNeighborY="27782"/>
      <dgm:spPr/>
    </dgm:pt>
    <dgm:pt modelId="{AE8B458B-F0F1-DB47-85D0-F7DD418C76B2}" type="pres">
      <dgm:prSet presAssocID="{7D8FB5C0-71F4-9E42-B4EF-419C794EF543}" presName="parTx2" presStyleLbl="node1" presStyleIdx="1" presStyleCnt="3" custScaleY="211310" custLinFactNeighborX="7119" custLinFactNeighborY="-98056"/>
      <dgm:spPr/>
    </dgm:pt>
    <dgm:pt modelId="{1F683C7C-172C-A346-B398-6BCF36B285DC}" type="pres">
      <dgm:prSet presAssocID="{FE62BA06-C827-B241-A948-B4481A798572}" presName="picture2" presStyleCnt="0"/>
      <dgm:spPr/>
    </dgm:pt>
    <dgm:pt modelId="{E6688BFD-6BC7-AD44-A438-3DEE0833A02D}" type="pres">
      <dgm:prSet presAssocID="{FE62BA06-C827-B241-A948-B4481A798572}" presName="imageRepeatNode" presStyleLbl="fgImgPlace1" presStyleIdx="1" presStyleCnt="3" custScaleX="104990" custScaleY="104997" custLinFactNeighborX="12794" custLinFactNeighborY="-21092"/>
      <dgm:spPr/>
    </dgm:pt>
    <dgm:pt modelId="{A82A48F5-6912-954D-81EF-67DA47278EE8}" type="pres">
      <dgm:prSet presAssocID="{B055AB70-259D-6044-A7AE-783FA93AC6BD}" presName="parTx3" presStyleLbl="node1" presStyleIdx="2" presStyleCnt="3" custScaleX="84312" custScaleY="186068" custLinFactY="-13439" custLinFactNeighborX="-1590" custLinFactNeighborY="-100000"/>
      <dgm:spPr/>
    </dgm:pt>
    <dgm:pt modelId="{EA136A3C-E831-F54B-8EDE-F6E60E20FA33}" type="pres">
      <dgm:prSet presAssocID="{7A0B333A-4FC7-2443-9668-F2CDD41CC22E}" presName="picture3" presStyleCnt="0"/>
      <dgm:spPr/>
    </dgm:pt>
    <dgm:pt modelId="{E83022D8-BFFC-0C4D-9479-BA7FE8829A37}" type="pres">
      <dgm:prSet presAssocID="{7A0B333A-4FC7-2443-9668-F2CDD41CC22E}" presName="imageRepeatNode" presStyleLbl="fgImgPlace1" presStyleIdx="2" presStyleCnt="3" custScaleX="104990" custScaleY="104997" custLinFactNeighborX="-4182" custLinFactNeighborY="-15825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F6498227-275A-E64F-9F85-622DBEA162DB}" srcId="{938FDDB0-DE61-FB46-8EB9-C42942D76A83}" destId="{7D8FB5C0-71F4-9E42-B4EF-419C794EF543}" srcOrd="1" destOrd="0" parTransId="{B6D61610-356F-6944-A94F-984E40DBD493}" sibTransId="{FE62BA06-C827-B241-A948-B4481A798572}"/>
    <dgm:cxn modelId="{E45D834F-59A2-AC43-9388-99A19591F675}" type="presOf" srcId="{B055AB70-259D-6044-A7AE-783FA93AC6BD}" destId="{A82A48F5-6912-954D-81EF-67DA47278EE8}" srcOrd="0" destOrd="0" presId="urn:microsoft.com/office/officeart/2008/layout/AscendingPictureAccentProcess"/>
    <dgm:cxn modelId="{29C36763-9693-B746-A607-49ECC19B70F4}" srcId="{938FDDB0-DE61-FB46-8EB9-C42942D76A83}" destId="{28C88896-0DFA-284E-9A42-85006EBA1871}" srcOrd="0" destOrd="0" parTransId="{2D64533F-054F-5E4D-9E07-1D9E6CF00433}" sibTransId="{E892FFC7-3065-2044-99EC-C082EC1289BC}"/>
    <dgm:cxn modelId="{6BD7528A-0032-9E49-9E65-E44C64C3A7EA}" type="presOf" srcId="{7D8FB5C0-71F4-9E42-B4EF-419C794EF543}" destId="{AE8B458B-F0F1-DB47-85D0-F7DD418C76B2}" srcOrd="0" destOrd="0" presId="urn:microsoft.com/office/officeart/2008/layout/AscendingPictureAccentProcess"/>
    <dgm:cxn modelId="{45A55F9C-D0C3-3B44-A985-8CD8E349EAC9}" type="presOf" srcId="{FE62BA06-C827-B241-A948-B4481A798572}" destId="{E6688BFD-6BC7-AD44-A438-3DEE0833A02D}" srcOrd="0" destOrd="0" presId="urn:microsoft.com/office/officeart/2008/layout/AscendingPictureAccentProcess"/>
    <dgm:cxn modelId="{1901B5B8-5ACE-0940-B4CA-F3BBC9655C48}" type="presOf" srcId="{E892FFC7-3065-2044-99EC-C082EC1289BC}" destId="{E5F18383-2709-A841-8867-14C3FFEEE035}" srcOrd="0" destOrd="0" presId="urn:microsoft.com/office/officeart/2008/layout/AscendingPictureAccentProcess"/>
    <dgm:cxn modelId="{68D57DF3-691D-384D-AB6C-64CA05EAFC59}" srcId="{938FDDB0-DE61-FB46-8EB9-C42942D76A83}" destId="{B055AB70-259D-6044-A7AE-783FA93AC6BD}" srcOrd="2" destOrd="0" parTransId="{11A336AC-5392-ED4B-9A17-DCC5576B455F}" sibTransId="{7A0B333A-4FC7-2443-9668-F2CDD41CC22E}"/>
    <dgm:cxn modelId="{7823E2F7-F940-2A47-994C-AA40914D0142}" type="presOf" srcId="{28C88896-0DFA-284E-9A42-85006EBA1871}" destId="{A47B86B1-BE47-294C-8C41-C00A9B8C0B99}" srcOrd="0" destOrd="0" presId="urn:microsoft.com/office/officeart/2008/layout/AscendingPictureAccentProcess"/>
    <dgm:cxn modelId="{E2E06FFF-A1C7-3F4E-BC4D-102171677257}" type="presOf" srcId="{7A0B333A-4FC7-2443-9668-F2CDD41CC22E}" destId="{E83022D8-BFFC-0C4D-9479-BA7FE8829A37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4FCF3A39-99D8-5B4F-9D5F-D44B043859B2}" type="presParOf" srcId="{39F9D213-A42D-2544-9519-27775061A362}" destId="{B2242D2F-616E-2F43-9845-48C3B2E5C10D}" srcOrd="3" destOrd="0" presId="urn:microsoft.com/office/officeart/2008/layout/AscendingPictureAccentProcess"/>
    <dgm:cxn modelId="{E7880ADA-B1A4-0B47-AFBF-D8E380D1C0D9}" type="presParOf" srcId="{39F9D213-A42D-2544-9519-27775061A362}" destId="{ADA4637C-E545-1043-8586-141EAFC2DA3D}" srcOrd="4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5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6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7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8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9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10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11" destOrd="0" presId="urn:microsoft.com/office/officeart/2008/layout/AscendingPictureAccentProcess"/>
    <dgm:cxn modelId="{62A4868D-6016-944E-9D32-D8F83AFF7410}" type="presParOf" srcId="{39F9D213-A42D-2544-9519-27775061A362}" destId="{A47B86B1-BE47-294C-8C41-C00A9B8C0B99}" srcOrd="12" destOrd="0" presId="urn:microsoft.com/office/officeart/2008/layout/AscendingPictureAccentProcess"/>
    <dgm:cxn modelId="{24549F36-6361-8549-9412-2B594303A3C7}" type="presParOf" srcId="{39F9D213-A42D-2544-9519-27775061A362}" destId="{9E44FDC7-FFBC-EA4F-8198-C2C8AE06742B}" srcOrd="13" destOrd="0" presId="urn:microsoft.com/office/officeart/2008/layout/AscendingPictureAccentProcess"/>
    <dgm:cxn modelId="{6DB6E16F-7B2B-4F40-8D1F-2E1C410A53D3}" type="presParOf" srcId="{9E44FDC7-FFBC-EA4F-8198-C2C8AE06742B}" destId="{E5F18383-2709-A841-8867-14C3FFEEE035}" srcOrd="0" destOrd="0" presId="urn:microsoft.com/office/officeart/2008/layout/AscendingPictureAccentProcess"/>
    <dgm:cxn modelId="{81F0F2C0-CAB3-F749-B879-A4BC17585C6B}" type="presParOf" srcId="{39F9D213-A42D-2544-9519-27775061A362}" destId="{AE8B458B-F0F1-DB47-85D0-F7DD418C76B2}" srcOrd="14" destOrd="0" presId="urn:microsoft.com/office/officeart/2008/layout/AscendingPictureAccentProcess"/>
    <dgm:cxn modelId="{EEA2DEC6-B7C6-FE42-9759-012798FC919B}" type="presParOf" srcId="{39F9D213-A42D-2544-9519-27775061A362}" destId="{1F683C7C-172C-A346-B398-6BCF36B285DC}" srcOrd="15" destOrd="0" presId="urn:microsoft.com/office/officeart/2008/layout/AscendingPictureAccentProcess"/>
    <dgm:cxn modelId="{AAC8B812-D40A-7A4B-B8B9-FE05AA414EA5}" type="presParOf" srcId="{1F683C7C-172C-A346-B398-6BCF36B285DC}" destId="{E6688BFD-6BC7-AD44-A438-3DEE0833A02D}" srcOrd="0" destOrd="0" presId="urn:microsoft.com/office/officeart/2008/layout/AscendingPictureAccentProcess"/>
    <dgm:cxn modelId="{E23DAD7E-ADEC-214E-9162-5A80836E10EF}" type="presParOf" srcId="{39F9D213-A42D-2544-9519-27775061A362}" destId="{A82A48F5-6912-954D-81EF-67DA47278EE8}" srcOrd="16" destOrd="0" presId="urn:microsoft.com/office/officeart/2008/layout/AscendingPictureAccentProcess"/>
    <dgm:cxn modelId="{97E86DEC-7798-4A4B-9950-F638758ECFFD}" type="presParOf" srcId="{39F9D213-A42D-2544-9519-27775061A362}" destId="{EA136A3C-E831-F54B-8EDE-F6E60E20FA33}" srcOrd="17" destOrd="0" presId="urn:microsoft.com/office/officeart/2008/layout/AscendingPictureAccentProcess"/>
    <dgm:cxn modelId="{95F04BC7-A120-3D40-990A-4833DE28C333}" type="presParOf" srcId="{EA136A3C-E831-F54B-8EDE-F6E60E20FA33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baseline="0" dirty="0">
              <a:solidFill>
                <a:srgbClr val="941100"/>
              </a:solidFill>
            </a:rPr>
            <a:t>  Deputata a risolvere:</a:t>
          </a:r>
          <a:endParaRPr lang="it-IT" sz="1200" b="0" baseline="0" dirty="0">
            <a:solidFill>
              <a:srgbClr val="941100"/>
            </a:solidFill>
          </a:endParaRP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Inammissibilità o improcedibilità</a:t>
          </a: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Istanze di regolamento e competenza prive di particolare rilevanza</a:t>
          </a: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Correzione errori materiali</a:t>
          </a: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Revocazione e opposizione di terzo senza particolare rilevanza</a:t>
          </a: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Pronunzie </a:t>
          </a:r>
          <a:r>
            <a:rPr lang="it-IT" sz="1200" b="0" u="sng" baseline="0" dirty="0">
              <a:solidFill>
                <a:srgbClr val="941100"/>
              </a:solidFill>
            </a:rPr>
            <a:t>non</a:t>
          </a:r>
          <a:r>
            <a:rPr lang="it-IT" sz="1200" b="0" baseline="0" dirty="0">
              <a:solidFill>
                <a:srgbClr val="941100"/>
              </a:solidFill>
            </a:rPr>
            <a:t> in P.U. (</a:t>
          </a:r>
          <a:r>
            <a:rPr lang="it-IT" sz="1200" b="1" baseline="0" dirty="0">
              <a:solidFill>
                <a:srgbClr val="941100"/>
              </a:solidFill>
            </a:rPr>
            <a:t>norma di chiusura)</a:t>
          </a: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sz="1200" b="1" dirty="0">
              <a:solidFill>
                <a:srgbClr val="941100"/>
              </a:solidFill>
            </a:rPr>
            <a:t>Riservata a:</a:t>
          </a:r>
        </a:p>
        <a:p>
          <a:r>
            <a:rPr lang="it-IT" sz="1200" b="0" dirty="0">
              <a:solidFill>
                <a:srgbClr val="941100"/>
              </a:solidFill>
            </a:rPr>
            <a:t>- questioni di diritto di particolare rilevanza</a:t>
          </a:r>
        </a:p>
        <a:p>
          <a:r>
            <a:rPr lang="it-IT" sz="1200" b="0" dirty="0">
              <a:solidFill>
                <a:srgbClr val="941100"/>
              </a:solidFill>
            </a:rPr>
            <a:t>- revocazione per contrarietà alla CEDU (Art. 391 </a:t>
          </a:r>
          <a:r>
            <a:rPr lang="it-IT" sz="1200" b="0" i="1" dirty="0">
              <a:solidFill>
                <a:srgbClr val="941100"/>
              </a:solidFill>
            </a:rPr>
            <a:t>quater</a:t>
          </a:r>
          <a:r>
            <a:rPr lang="it-IT" sz="1200" b="0" dirty="0">
              <a:solidFill>
                <a:srgbClr val="941100"/>
              </a:solidFill>
            </a:rPr>
            <a:t>)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0"/>
      <dgm:spPr/>
    </dgm:pt>
    <dgm:pt modelId="{854990D9-8209-7349-AF55-E51E75BDB965}" type="pres">
      <dgm:prSet presAssocID="{938FDDB0-DE61-FB46-8EB9-C42942D76A83}" presName="dot2" presStyleLbl="alignNode1" presStyleIdx="1" presStyleCnt="10"/>
      <dgm:spPr/>
    </dgm:pt>
    <dgm:pt modelId="{DD391417-38E1-9D43-A395-27B18694A18D}" type="pres">
      <dgm:prSet presAssocID="{938FDDB0-DE61-FB46-8EB9-C42942D76A83}" presName="dot3" presStyleLbl="alignNode1" presStyleIdx="2" presStyleCnt="10"/>
      <dgm:spPr/>
    </dgm:pt>
    <dgm:pt modelId="{41E57B03-9146-A34C-ADCA-CA576AC4C8F9}" type="pres">
      <dgm:prSet presAssocID="{938FDDB0-DE61-FB46-8EB9-C42942D76A83}" presName="dotArrow1" presStyleLbl="alignNode1" presStyleIdx="3" presStyleCnt="10" custLinFactY="300000" custLinFactNeighborY="309787"/>
      <dgm:spPr/>
    </dgm:pt>
    <dgm:pt modelId="{8ED45E39-4EDC-5C46-8959-60113D8DFB72}" type="pres">
      <dgm:prSet presAssocID="{938FDDB0-DE61-FB46-8EB9-C42942D76A83}" presName="dotArrow2" presStyleLbl="alignNode1" presStyleIdx="4" presStyleCnt="10" custLinFactY="300000" custLinFactNeighborY="302452"/>
      <dgm:spPr/>
    </dgm:pt>
    <dgm:pt modelId="{FEE20446-FD2F-E942-A5DB-3469BE499B02}" type="pres">
      <dgm:prSet presAssocID="{938FDDB0-DE61-FB46-8EB9-C42942D76A83}" presName="dotArrow3" presStyleLbl="alignNode1" presStyleIdx="5" presStyleCnt="10" custLinFactY="251642" custLinFactNeighborY="300000"/>
      <dgm:spPr/>
    </dgm:pt>
    <dgm:pt modelId="{D31B1761-8DC1-9548-807B-721048F3AEA6}" type="pres">
      <dgm:prSet presAssocID="{938FDDB0-DE61-FB46-8EB9-C42942D76A83}" presName="dotArrow4" presStyleLbl="alignNode1" presStyleIdx="6" presStyleCnt="10" custLinFactY="185081" custLinFactNeighborY="200000"/>
      <dgm:spPr/>
    </dgm:pt>
    <dgm:pt modelId="{A1131B47-C21C-7047-9FBD-99AA4AFF5416}" type="pres">
      <dgm:prSet presAssocID="{938FDDB0-DE61-FB46-8EB9-C42942D76A83}" presName="dotArrow5" presStyleLbl="alignNode1" presStyleIdx="7" presStyleCnt="10" custLinFactY="192417" custLinFactNeighborY="200000"/>
      <dgm:spPr/>
    </dgm:pt>
    <dgm:pt modelId="{5E739D56-E020-7D44-A36C-EE2C74388332}" type="pres">
      <dgm:prSet presAssocID="{938FDDB0-DE61-FB46-8EB9-C42942D76A83}" presName="dotArrow6" presStyleLbl="alignNode1" presStyleIdx="8" presStyleCnt="10" custLinFactY="183660" custLinFactNeighborY="200000"/>
      <dgm:spPr/>
    </dgm:pt>
    <dgm:pt modelId="{C2FBE9BB-DF12-9F4E-8160-3CF338A7E931}" type="pres">
      <dgm:prSet presAssocID="{938FDDB0-DE61-FB46-8EB9-C42942D76A83}" presName="dotArrow7" presStyleLbl="alignNode1" presStyleIdx="9" presStyleCnt="10" custLinFactY="28729" custLinFactNeighborY="100000"/>
      <dgm:spPr/>
    </dgm:pt>
    <dgm:pt modelId="{B63F5E24-D13F-F141-92B1-13A5A888279B}" type="pres">
      <dgm:prSet presAssocID="{7D8FB5C0-71F4-9E42-B4EF-419C794EF543}" presName="parTx1" presStyleLbl="node1" presStyleIdx="0" presStyleCnt="2" custScaleX="111979" custScaleY="258563" custLinFactNeighborX="30885" custLinFactNeighborY="-4229"/>
      <dgm:spPr/>
    </dgm:pt>
    <dgm:pt modelId="{F8ED4E05-7268-7448-B647-521D00719045}" type="pres">
      <dgm:prSet presAssocID="{FE62BA06-C827-B241-A948-B4481A798572}" presName="picture1" presStyleCnt="0"/>
      <dgm:spPr/>
    </dgm:pt>
    <dgm:pt modelId="{E6688BFD-6BC7-AD44-A438-3DEE0833A02D}" type="pres">
      <dgm:prSet presAssocID="{FE62BA06-C827-B241-A948-B4481A798572}" presName="imageRepeatNode" presStyleLbl="fgImgPlace1" presStyleIdx="0" presStyleCnt="2" custScaleX="86938" custScaleY="86944" custLinFactNeighborX="72071" custLinFactNeighborY="-23193"/>
      <dgm:spPr/>
    </dgm:pt>
    <dgm:pt modelId="{A3C77071-8288-184C-B3B1-80513333E16D}" type="pres">
      <dgm:prSet presAssocID="{B055AB70-259D-6044-A7AE-783FA93AC6BD}" presName="parTx2" presStyleLbl="node1" presStyleIdx="1" presStyleCnt="2" custScaleX="100230" custScaleY="181803" custLinFactNeighborX="1439" custLinFactNeighborY="-62527"/>
      <dgm:spPr/>
    </dgm:pt>
    <dgm:pt modelId="{DB023F60-802A-794F-BD3F-8D90F18140FA}" type="pres">
      <dgm:prSet presAssocID="{7A0B333A-4FC7-2443-9668-F2CDD41CC22E}" presName="picture2" presStyleCnt="0"/>
      <dgm:spPr/>
    </dgm:pt>
    <dgm:pt modelId="{E83022D8-BFFC-0C4D-9479-BA7FE8829A37}" type="pres">
      <dgm:prSet presAssocID="{7A0B333A-4FC7-2443-9668-F2CDD41CC22E}" presName="imageRepeatNode" presStyleLbl="fgImgPlace1" presStyleIdx="1" presStyleCnt="2" custScaleX="86938" custScaleY="86944" custLinFactNeighborX="11498" custLinFactNeighborY="-18401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506FD11B-6C74-0D4A-9B49-79654CDA38E6}" type="presOf" srcId="{FE62BA06-C827-B241-A948-B4481A798572}" destId="{E6688BFD-6BC7-AD44-A438-3DEE0833A02D}" srcOrd="0" destOrd="0" presId="urn:microsoft.com/office/officeart/2008/layout/AscendingPictureAccentProcess"/>
    <dgm:cxn modelId="{F6498227-275A-E64F-9F85-622DBEA162DB}" srcId="{938FDDB0-DE61-FB46-8EB9-C42942D76A83}" destId="{7D8FB5C0-71F4-9E42-B4EF-419C794EF543}" srcOrd="0" destOrd="0" parTransId="{B6D61610-356F-6944-A94F-984E40DBD493}" sibTransId="{FE62BA06-C827-B241-A948-B4481A798572}"/>
    <dgm:cxn modelId="{F49B2CA5-6D5E-FB4B-BA35-7AB18C1ECE68}" type="presOf" srcId="{7A0B333A-4FC7-2443-9668-F2CDD41CC22E}" destId="{E83022D8-BFFC-0C4D-9479-BA7FE8829A37}" srcOrd="0" destOrd="0" presId="urn:microsoft.com/office/officeart/2008/layout/AscendingPictureAccentProcess"/>
    <dgm:cxn modelId="{589CD6A5-EC24-9C4A-A1FD-ACCCD0B98F95}" type="presOf" srcId="{B055AB70-259D-6044-A7AE-783FA93AC6BD}" destId="{A3C77071-8288-184C-B3B1-80513333E16D}" srcOrd="0" destOrd="0" presId="urn:microsoft.com/office/officeart/2008/layout/AscendingPictureAccentProcess"/>
    <dgm:cxn modelId="{68D57DF3-691D-384D-AB6C-64CA05EAFC59}" srcId="{938FDDB0-DE61-FB46-8EB9-C42942D76A83}" destId="{B055AB70-259D-6044-A7AE-783FA93AC6BD}" srcOrd="1" destOrd="0" parTransId="{11A336AC-5392-ED4B-9A17-DCC5576B455F}" sibTransId="{7A0B333A-4FC7-2443-9668-F2CDD41CC22E}"/>
    <dgm:cxn modelId="{E96B2CFD-0C07-5B41-87B1-6C518A057DBA}" type="presOf" srcId="{7D8FB5C0-71F4-9E42-B4EF-419C794EF543}" destId="{B63F5E24-D13F-F141-92B1-13A5A888279B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3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4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5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6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7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8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9" destOrd="0" presId="urn:microsoft.com/office/officeart/2008/layout/AscendingPictureAccentProcess"/>
    <dgm:cxn modelId="{0E97268F-828F-514E-8BC7-D5C7A2A2009A}" type="presParOf" srcId="{39F9D213-A42D-2544-9519-27775061A362}" destId="{B63F5E24-D13F-F141-92B1-13A5A888279B}" srcOrd="10" destOrd="0" presId="urn:microsoft.com/office/officeart/2008/layout/AscendingPictureAccentProcess"/>
    <dgm:cxn modelId="{A8C283A3-6F06-1543-8DBC-E6FD0F2A23FF}" type="presParOf" srcId="{39F9D213-A42D-2544-9519-27775061A362}" destId="{F8ED4E05-7268-7448-B647-521D00719045}" srcOrd="11" destOrd="0" presId="urn:microsoft.com/office/officeart/2008/layout/AscendingPictureAccentProcess"/>
    <dgm:cxn modelId="{2E06932B-3A38-3941-89D4-38DE1C0205C6}" type="presParOf" srcId="{F8ED4E05-7268-7448-B647-521D00719045}" destId="{E6688BFD-6BC7-AD44-A438-3DEE0833A02D}" srcOrd="0" destOrd="0" presId="urn:microsoft.com/office/officeart/2008/layout/AscendingPictureAccentProcess"/>
    <dgm:cxn modelId="{CFB5A124-4163-0140-B68B-22728279278C}" type="presParOf" srcId="{39F9D213-A42D-2544-9519-27775061A362}" destId="{A3C77071-8288-184C-B3B1-80513333E16D}" srcOrd="12" destOrd="0" presId="urn:microsoft.com/office/officeart/2008/layout/AscendingPictureAccentProcess"/>
    <dgm:cxn modelId="{095C0249-27F8-BC44-ADA3-E4A36983BFAD}" type="presParOf" srcId="{39F9D213-A42D-2544-9519-27775061A362}" destId="{DB023F60-802A-794F-BD3F-8D90F18140FA}" srcOrd="13" destOrd="0" presId="urn:microsoft.com/office/officeart/2008/layout/AscendingPictureAccentProcess"/>
    <dgm:cxn modelId="{80560AAE-25B3-8B47-A574-DC92414026D2}" type="presParOf" srcId="{DB023F60-802A-794F-BD3F-8D90F18140FA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baseline="0" dirty="0">
              <a:solidFill>
                <a:srgbClr val="941100"/>
              </a:solidFill>
            </a:rPr>
            <a:t>Il Primo Presidente:</a:t>
          </a:r>
          <a:endParaRPr lang="it-IT" sz="1200" b="0" baseline="0" dirty="0">
            <a:solidFill>
              <a:srgbClr val="941100"/>
            </a:solidFill>
          </a:endParaRP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fissa udienza/adunanza e nomina il Relatore per i ricorsi assegnati alle SS.UU.</a:t>
          </a:r>
        </a:p>
        <a:p>
          <a:pPr algn="l"/>
          <a:r>
            <a:rPr lang="it-IT" sz="1200" b="1" baseline="0" dirty="0">
              <a:solidFill>
                <a:srgbClr val="941100"/>
              </a:solidFill>
            </a:rPr>
            <a:t>Il Presidente della Sezione:</a:t>
          </a:r>
          <a:endParaRPr lang="it-IT" sz="1200" b="0" baseline="0" dirty="0">
            <a:solidFill>
              <a:srgbClr val="941100"/>
            </a:solidFill>
          </a:endParaRP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fissa udienza/adunanza e nomina il Relatore per i ricorsi assegnati alle SS.SS.</a:t>
          </a:r>
        </a:p>
        <a:p>
          <a:pPr algn="l"/>
          <a:r>
            <a:rPr lang="it-IT" sz="1200" b="1" baseline="0" dirty="0">
              <a:solidFill>
                <a:srgbClr val="941100"/>
              </a:solidFill>
            </a:rPr>
            <a:t>ENTRAMBI:</a:t>
          </a: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dispongono eventuali integrazioni o rinnovi di notifica</a:t>
          </a: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dirty="0">
              <a:solidFill>
                <a:srgbClr val="941100"/>
              </a:solidFill>
            </a:rPr>
            <a:t>Il Primo Presidente: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assegna i ricorsi alle SS.UU. o alla S.S.</a:t>
          </a:r>
        </a:p>
        <a:p>
          <a:pPr algn="l"/>
          <a:r>
            <a:rPr lang="it-IT" sz="1200" b="1" dirty="0">
              <a:solidFill>
                <a:srgbClr val="941100"/>
              </a:solidFill>
            </a:rPr>
            <a:t>La Parte: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fino a 15 gg. prima dell’udienza/adunanza può proporre istanza di rimessione alle SS.UU. (</a:t>
          </a:r>
          <a:r>
            <a:rPr lang="it-IT" sz="1200" b="1" dirty="0">
              <a:solidFill>
                <a:srgbClr val="941100"/>
              </a:solidFill>
            </a:rPr>
            <a:t>dopo: </a:t>
          </a:r>
          <a:r>
            <a:rPr lang="it-IT" sz="1200" b="0" dirty="0">
              <a:solidFill>
                <a:srgbClr val="941100"/>
              </a:solidFill>
            </a:rPr>
            <a:t>con ordinanza, solo d’ufficio o a richiesta del P.M.)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0"/>
      <dgm:spPr/>
    </dgm:pt>
    <dgm:pt modelId="{854990D9-8209-7349-AF55-E51E75BDB965}" type="pres">
      <dgm:prSet presAssocID="{938FDDB0-DE61-FB46-8EB9-C42942D76A83}" presName="dot2" presStyleLbl="alignNode1" presStyleIdx="1" presStyleCnt="10"/>
      <dgm:spPr/>
    </dgm:pt>
    <dgm:pt modelId="{DD391417-38E1-9D43-A395-27B18694A18D}" type="pres">
      <dgm:prSet presAssocID="{938FDDB0-DE61-FB46-8EB9-C42942D76A83}" presName="dot3" presStyleLbl="alignNode1" presStyleIdx="2" presStyleCnt="10"/>
      <dgm:spPr/>
    </dgm:pt>
    <dgm:pt modelId="{41E57B03-9146-A34C-ADCA-CA576AC4C8F9}" type="pres">
      <dgm:prSet presAssocID="{938FDDB0-DE61-FB46-8EB9-C42942D76A83}" presName="dotArrow1" presStyleLbl="alignNode1" presStyleIdx="3" presStyleCnt="10" custLinFactY="200000" custLinFactNeighborY="294682"/>
      <dgm:spPr/>
    </dgm:pt>
    <dgm:pt modelId="{8ED45E39-4EDC-5C46-8959-60113D8DFB72}" type="pres">
      <dgm:prSet presAssocID="{938FDDB0-DE61-FB46-8EB9-C42942D76A83}" presName="dotArrow2" presStyleLbl="alignNode1" presStyleIdx="4" presStyleCnt="10" custLinFactY="200000" custLinFactNeighborY="200398"/>
      <dgm:spPr/>
    </dgm:pt>
    <dgm:pt modelId="{FEE20446-FD2F-E942-A5DB-3469BE499B02}" type="pres">
      <dgm:prSet presAssocID="{938FDDB0-DE61-FB46-8EB9-C42942D76A83}" presName="dotArrow3" presStyleLbl="alignNode1" presStyleIdx="5" presStyleCnt="10" custLinFactY="223484" custLinFactNeighborY="300000"/>
      <dgm:spPr/>
    </dgm:pt>
    <dgm:pt modelId="{D31B1761-8DC1-9548-807B-721048F3AEA6}" type="pres">
      <dgm:prSet presAssocID="{938FDDB0-DE61-FB46-8EB9-C42942D76A83}" presName="dotArrow4" presStyleLbl="alignNode1" presStyleIdx="6" presStyleCnt="10" custLinFactY="113449" custLinFactNeighborY="200000"/>
      <dgm:spPr/>
    </dgm:pt>
    <dgm:pt modelId="{A1131B47-C21C-7047-9FBD-99AA4AFF5416}" type="pres">
      <dgm:prSet presAssocID="{938FDDB0-DE61-FB46-8EB9-C42942D76A83}" presName="dotArrow5" presStyleLbl="alignNode1" presStyleIdx="7" presStyleCnt="10" custLinFactY="200000" custLinFactNeighborY="207734"/>
      <dgm:spPr/>
    </dgm:pt>
    <dgm:pt modelId="{5E739D56-E020-7D44-A36C-EE2C74388332}" type="pres">
      <dgm:prSet presAssocID="{938FDDB0-DE61-FB46-8EB9-C42942D76A83}" presName="dotArrow6" presStyleLbl="alignNode1" presStyleIdx="8" presStyleCnt="10" custLinFactY="112028" custLinFactNeighborY="200000"/>
      <dgm:spPr/>
    </dgm:pt>
    <dgm:pt modelId="{C2FBE9BB-DF12-9F4E-8160-3CF338A7E931}" type="pres">
      <dgm:prSet presAssocID="{938FDDB0-DE61-FB46-8EB9-C42942D76A83}" presName="dotArrow7" presStyleLbl="alignNode1" presStyleIdx="9" presStyleCnt="10"/>
      <dgm:spPr/>
    </dgm:pt>
    <dgm:pt modelId="{B63F5E24-D13F-F141-92B1-13A5A888279B}" type="pres">
      <dgm:prSet presAssocID="{7D8FB5C0-71F4-9E42-B4EF-419C794EF543}" presName="parTx1" presStyleLbl="node1" presStyleIdx="0" presStyleCnt="2" custScaleX="120156" custScaleY="319341" custLinFactNeighborX="39732"/>
      <dgm:spPr/>
    </dgm:pt>
    <dgm:pt modelId="{F8ED4E05-7268-7448-B647-521D00719045}" type="pres">
      <dgm:prSet presAssocID="{FE62BA06-C827-B241-A948-B4481A798572}" presName="picture1" presStyleCnt="0"/>
      <dgm:spPr/>
    </dgm:pt>
    <dgm:pt modelId="{E6688BFD-6BC7-AD44-A438-3DEE0833A02D}" type="pres">
      <dgm:prSet presAssocID="{FE62BA06-C827-B241-A948-B4481A798572}" presName="imageRepeatNode" presStyleLbl="fgImgPlace1" presStyleIdx="0" presStyleCnt="2" custScaleX="86938" custScaleY="86944" custLinFactNeighborX="72071" custLinFactNeighborY="-23193"/>
      <dgm:spPr/>
    </dgm:pt>
    <dgm:pt modelId="{A3C77071-8288-184C-B3B1-80513333E16D}" type="pres">
      <dgm:prSet presAssocID="{B055AB70-259D-6044-A7AE-783FA93AC6BD}" presName="parTx2" presStyleLbl="node1" presStyleIdx="1" presStyleCnt="2" custScaleY="204300" custLinFactNeighborX="7467" custLinFactNeighborY="-76905"/>
      <dgm:spPr/>
    </dgm:pt>
    <dgm:pt modelId="{DB023F60-802A-794F-BD3F-8D90F18140FA}" type="pres">
      <dgm:prSet presAssocID="{7A0B333A-4FC7-2443-9668-F2CDD41CC22E}" presName="picture2" presStyleCnt="0"/>
      <dgm:spPr/>
    </dgm:pt>
    <dgm:pt modelId="{E83022D8-BFFC-0C4D-9479-BA7FE8829A37}" type="pres">
      <dgm:prSet presAssocID="{7A0B333A-4FC7-2443-9668-F2CDD41CC22E}" presName="imageRepeatNode" presStyleLbl="fgImgPlace1" presStyleIdx="1" presStyleCnt="2" custScaleX="86938" custScaleY="86944" custLinFactNeighborX="11498" custLinFactNeighborY="-28853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506FD11B-6C74-0D4A-9B49-79654CDA38E6}" type="presOf" srcId="{FE62BA06-C827-B241-A948-B4481A798572}" destId="{E6688BFD-6BC7-AD44-A438-3DEE0833A02D}" srcOrd="0" destOrd="0" presId="urn:microsoft.com/office/officeart/2008/layout/AscendingPictureAccentProcess"/>
    <dgm:cxn modelId="{F6498227-275A-E64F-9F85-622DBEA162DB}" srcId="{938FDDB0-DE61-FB46-8EB9-C42942D76A83}" destId="{7D8FB5C0-71F4-9E42-B4EF-419C794EF543}" srcOrd="0" destOrd="0" parTransId="{B6D61610-356F-6944-A94F-984E40DBD493}" sibTransId="{FE62BA06-C827-B241-A948-B4481A798572}"/>
    <dgm:cxn modelId="{F49B2CA5-6D5E-FB4B-BA35-7AB18C1ECE68}" type="presOf" srcId="{7A0B333A-4FC7-2443-9668-F2CDD41CC22E}" destId="{E83022D8-BFFC-0C4D-9479-BA7FE8829A37}" srcOrd="0" destOrd="0" presId="urn:microsoft.com/office/officeart/2008/layout/AscendingPictureAccentProcess"/>
    <dgm:cxn modelId="{589CD6A5-EC24-9C4A-A1FD-ACCCD0B98F95}" type="presOf" srcId="{B055AB70-259D-6044-A7AE-783FA93AC6BD}" destId="{A3C77071-8288-184C-B3B1-80513333E16D}" srcOrd="0" destOrd="0" presId="urn:microsoft.com/office/officeart/2008/layout/AscendingPictureAccentProcess"/>
    <dgm:cxn modelId="{68D57DF3-691D-384D-AB6C-64CA05EAFC59}" srcId="{938FDDB0-DE61-FB46-8EB9-C42942D76A83}" destId="{B055AB70-259D-6044-A7AE-783FA93AC6BD}" srcOrd="1" destOrd="0" parTransId="{11A336AC-5392-ED4B-9A17-DCC5576B455F}" sibTransId="{7A0B333A-4FC7-2443-9668-F2CDD41CC22E}"/>
    <dgm:cxn modelId="{E96B2CFD-0C07-5B41-87B1-6C518A057DBA}" type="presOf" srcId="{7D8FB5C0-71F4-9E42-B4EF-419C794EF543}" destId="{B63F5E24-D13F-F141-92B1-13A5A888279B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3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4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5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6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7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8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9" destOrd="0" presId="urn:microsoft.com/office/officeart/2008/layout/AscendingPictureAccentProcess"/>
    <dgm:cxn modelId="{0E97268F-828F-514E-8BC7-D5C7A2A2009A}" type="presParOf" srcId="{39F9D213-A42D-2544-9519-27775061A362}" destId="{B63F5E24-D13F-F141-92B1-13A5A888279B}" srcOrd="10" destOrd="0" presId="urn:microsoft.com/office/officeart/2008/layout/AscendingPictureAccentProcess"/>
    <dgm:cxn modelId="{A8C283A3-6F06-1543-8DBC-E6FD0F2A23FF}" type="presParOf" srcId="{39F9D213-A42D-2544-9519-27775061A362}" destId="{F8ED4E05-7268-7448-B647-521D00719045}" srcOrd="11" destOrd="0" presId="urn:microsoft.com/office/officeart/2008/layout/AscendingPictureAccentProcess"/>
    <dgm:cxn modelId="{2E06932B-3A38-3941-89D4-38DE1C0205C6}" type="presParOf" srcId="{F8ED4E05-7268-7448-B647-521D00719045}" destId="{E6688BFD-6BC7-AD44-A438-3DEE0833A02D}" srcOrd="0" destOrd="0" presId="urn:microsoft.com/office/officeart/2008/layout/AscendingPictureAccentProcess"/>
    <dgm:cxn modelId="{CFB5A124-4163-0140-B68B-22728279278C}" type="presParOf" srcId="{39F9D213-A42D-2544-9519-27775061A362}" destId="{A3C77071-8288-184C-B3B1-80513333E16D}" srcOrd="12" destOrd="0" presId="urn:microsoft.com/office/officeart/2008/layout/AscendingPictureAccentProcess"/>
    <dgm:cxn modelId="{095C0249-27F8-BC44-ADA3-E4A36983BFAD}" type="presParOf" srcId="{39F9D213-A42D-2544-9519-27775061A362}" destId="{DB023F60-802A-794F-BD3F-8D90F18140FA}" srcOrd="13" destOrd="0" presId="urn:microsoft.com/office/officeart/2008/layout/AscendingPictureAccentProcess"/>
    <dgm:cxn modelId="{80560AAE-25B3-8B47-A574-DC92414026D2}" type="presParOf" srcId="{DB023F60-802A-794F-BD3F-8D90F18140FA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baseline="0" dirty="0">
              <a:solidFill>
                <a:srgbClr val="941100"/>
              </a:solidFill>
            </a:rPr>
            <a:t>La Cancelleria:</a:t>
          </a:r>
        </a:p>
        <a:p>
          <a:pPr algn="just"/>
          <a:r>
            <a:rPr lang="it-IT" sz="1200" b="0" baseline="0" dirty="0">
              <a:solidFill>
                <a:srgbClr val="941100"/>
              </a:solidFill>
            </a:rPr>
            <a:t>- comunica al P.M. e ai difensori la data dell’udienza almeno </a:t>
          </a:r>
          <a:r>
            <a:rPr lang="it-IT" sz="1200" b="1" u="sng" baseline="0" dirty="0">
              <a:solidFill>
                <a:srgbClr val="941100"/>
              </a:solidFill>
            </a:rPr>
            <a:t>60 gg. prima</a:t>
          </a: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baseline="0" dirty="0">
              <a:solidFill>
                <a:srgbClr val="941100"/>
              </a:solidFill>
            </a:rPr>
            <a:t>La Cancelleria:</a:t>
          </a:r>
        </a:p>
        <a:p>
          <a:pPr algn="l"/>
          <a:r>
            <a:rPr lang="it-IT" sz="1200" b="0" baseline="0" dirty="0">
              <a:solidFill>
                <a:srgbClr val="941100"/>
              </a:solidFill>
            </a:rPr>
            <a:t>- comunica al P.M. e ai difensori la data dell’udienza almeno </a:t>
          </a:r>
          <a:r>
            <a:rPr lang="it-IT" sz="1200" b="1" u="sng" baseline="0" dirty="0">
              <a:solidFill>
                <a:srgbClr val="941100"/>
              </a:solidFill>
            </a:rPr>
            <a:t>60 gg. prima</a:t>
          </a:r>
          <a:endParaRPr lang="it-IT" sz="1200" b="0" dirty="0">
            <a:solidFill>
              <a:srgbClr val="941100"/>
            </a:solidFill>
          </a:endParaRP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0"/>
      <dgm:spPr/>
    </dgm:pt>
    <dgm:pt modelId="{854990D9-8209-7349-AF55-E51E75BDB965}" type="pres">
      <dgm:prSet presAssocID="{938FDDB0-DE61-FB46-8EB9-C42942D76A83}" presName="dot2" presStyleLbl="alignNode1" presStyleIdx="1" presStyleCnt="10"/>
      <dgm:spPr/>
    </dgm:pt>
    <dgm:pt modelId="{DD391417-38E1-9D43-A395-27B18694A18D}" type="pres">
      <dgm:prSet presAssocID="{938FDDB0-DE61-FB46-8EB9-C42942D76A83}" presName="dot3" presStyleLbl="alignNode1" presStyleIdx="2" presStyleCnt="10"/>
      <dgm:spPr/>
    </dgm:pt>
    <dgm:pt modelId="{41E57B03-9146-A34C-ADCA-CA576AC4C8F9}" type="pres">
      <dgm:prSet presAssocID="{938FDDB0-DE61-FB46-8EB9-C42942D76A83}" presName="dotArrow1" presStyleLbl="alignNode1" presStyleIdx="3" presStyleCnt="10" custLinFactY="300000" custLinFactNeighborY="363994"/>
      <dgm:spPr/>
    </dgm:pt>
    <dgm:pt modelId="{8ED45E39-4EDC-5C46-8959-60113D8DFB72}" type="pres">
      <dgm:prSet presAssocID="{938FDDB0-DE61-FB46-8EB9-C42942D76A83}" presName="dotArrow2" presStyleLbl="alignNode1" presStyleIdx="4" presStyleCnt="10" custLinFactY="300000" custLinFactNeighborY="319008"/>
      <dgm:spPr/>
    </dgm:pt>
    <dgm:pt modelId="{FEE20446-FD2F-E942-A5DB-3469BE499B02}" type="pres">
      <dgm:prSet presAssocID="{938FDDB0-DE61-FB46-8EB9-C42942D76A83}" presName="dotArrow3" presStyleLbl="alignNode1" presStyleIdx="5" presStyleCnt="10" custLinFactY="300000" custLinFactNeighborY="315555"/>
      <dgm:spPr/>
    </dgm:pt>
    <dgm:pt modelId="{D31B1761-8DC1-9548-807B-721048F3AEA6}" type="pres">
      <dgm:prSet presAssocID="{938FDDB0-DE61-FB46-8EB9-C42942D76A83}" presName="dotArrow4" presStyleLbl="alignNode1" presStyleIdx="6" presStyleCnt="10" custLinFactY="277476" custLinFactNeighborY="300000"/>
      <dgm:spPr/>
    </dgm:pt>
    <dgm:pt modelId="{A1131B47-C21C-7047-9FBD-99AA4AFF5416}" type="pres">
      <dgm:prSet presAssocID="{938FDDB0-DE61-FB46-8EB9-C42942D76A83}" presName="dotArrow5" presStyleLbl="alignNode1" presStyleIdx="7" presStyleCnt="10" custLinFactY="239396" custLinFactNeighborY="300000"/>
      <dgm:spPr/>
    </dgm:pt>
    <dgm:pt modelId="{5E739D56-E020-7D44-A36C-EE2C74388332}" type="pres">
      <dgm:prSet presAssocID="{938FDDB0-DE61-FB46-8EB9-C42942D76A83}" presName="dotArrow6" presStyleLbl="alignNode1" presStyleIdx="8" presStyleCnt="10" custLinFactY="230638" custLinFactNeighborX="-12934" custLinFactNeighborY="300000"/>
      <dgm:spPr/>
    </dgm:pt>
    <dgm:pt modelId="{C2FBE9BB-DF12-9F4E-8160-3CF338A7E931}" type="pres">
      <dgm:prSet presAssocID="{938FDDB0-DE61-FB46-8EB9-C42942D76A83}" presName="dotArrow7" presStyleLbl="alignNode1" presStyleIdx="9" presStyleCnt="10" custLinFactY="162656" custLinFactNeighborY="200000"/>
      <dgm:spPr/>
    </dgm:pt>
    <dgm:pt modelId="{B63F5E24-D13F-F141-92B1-13A5A888279B}" type="pres">
      <dgm:prSet presAssocID="{7D8FB5C0-71F4-9E42-B4EF-419C794EF543}" presName="parTx1" presStyleLbl="node1" presStyleIdx="0" presStyleCnt="2" custScaleX="111667" custScaleY="122742" custLinFactNeighborX="39912" custLinFactNeighborY="-95816"/>
      <dgm:spPr/>
    </dgm:pt>
    <dgm:pt modelId="{F8ED4E05-7268-7448-B647-521D00719045}" type="pres">
      <dgm:prSet presAssocID="{FE62BA06-C827-B241-A948-B4481A798572}" presName="picture1" presStyleCnt="0"/>
      <dgm:spPr/>
    </dgm:pt>
    <dgm:pt modelId="{E6688BFD-6BC7-AD44-A438-3DEE0833A02D}" type="pres">
      <dgm:prSet presAssocID="{FE62BA06-C827-B241-A948-B4481A798572}" presName="imageRepeatNode" presStyleLbl="fgImgPlace1" presStyleIdx="0" presStyleCnt="2" custScaleX="86938" custScaleY="86944" custLinFactNeighborX="68577" custLinFactNeighborY="-23193"/>
      <dgm:spPr/>
    </dgm:pt>
    <dgm:pt modelId="{A3C77071-8288-184C-B3B1-80513333E16D}" type="pres">
      <dgm:prSet presAssocID="{B055AB70-259D-6044-A7AE-783FA93AC6BD}" presName="parTx2" presStyleLbl="node1" presStyleIdx="1" presStyleCnt="2" custScaleY="124001" custLinFactNeighborX="8596" custLinFactNeighborY="-96653"/>
      <dgm:spPr/>
    </dgm:pt>
    <dgm:pt modelId="{DB023F60-802A-794F-BD3F-8D90F18140FA}" type="pres">
      <dgm:prSet presAssocID="{7A0B333A-4FC7-2443-9668-F2CDD41CC22E}" presName="picture2" presStyleCnt="0"/>
      <dgm:spPr/>
    </dgm:pt>
    <dgm:pt modelId="{E83022D8-BFFC-0C4D-9479-BA7FE8829A37}" type="pres">
      <dgm:prSet presAssocID="{7A0B333A-4FC7-2443-9668-F2CDD41CC22E}" presName="imageRepeatNode" presStyleLbl="fgImgPlace1" presStyleIdx="1" presStyleCnt="2" custScaleX="86938" custScaleY="86944" custLinFactNeighborX="11498" custLinFactNeighborY="-11291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506FD11B-6C74-0D4A-9B49-79654CDA38E6}" type="presOf" srcId="{FE62BA06-C827-B241-A948-B4481A798572}" destId="{E6688BFD-6BC7-AD44-A438-3DEE0833A02D}" srcOrd="0" destOrd="0" presId="urn:microsoft.com/office/officeart/2008/layout/AscendingPictureAccentProcess"/>
    <dgm:cxn modelId="{F6498227-275A-E64F-9F85-622DBEA162DB}" srcId="{938FDDB0-DE61-FB46-8EB9-C42942D76A83}" destId="{7D8FB5C0-71F4-9E42-B4EF-419C794EF543}" srcOrd="0" destOrd="0" parTransId="{B6D61610-356F-6944-A94F-984E40DBD493}" sibTransId="{FE62BA06-C827-B241-A948-B4481A798572}"/>
    <dgm:cxn modelId="{F49B2CA5-6D5E-FB4B-BA35-7AB18C1ECE68}" type="presOf" srcId="{7A0B333A-4FC7-2443-9668-F2CDD41CC22E}" destId="{E83022D8-BFFC-0C4D-9479-BA7FE8829A37}" srcOrd="0" destOrd="0" presId="urn:microsoft.com/office/officeart/2008/layout/AscendingPictureAccentProcess"/>
    <dgm:cxn modelId="{589CD6A5-EC24-9C4A-A1FD-ACCCD0B98F95}" type="presOf" srcId="{B055AB70-259D-6044-A7AE-783FA93AC6BD}" destId="{A3C77071-8288-184C-B3B1-80513333E16D}" srcOrd="0" destOrd="0" presId="urn:microsoft.com/office/officeart/2008/layout/AscendingPictureAccentProcess"/>
    <dgm:cxn modelId="{68D57DF3-691D-384D-AB6C-64CA05EAFC59}" srcId="{938FDDB0-DE61-FB46-8EB9-C42942D76A83}" destId="{B055AB70-259D-6044-A7AE-783FA93AC6BD}" srcOrd="1" destOrd="0" parTransId="{11A336AC-5392-ED4B-9A17-DCC5576B455F}" sibTransId="{7A0B333A-4FC7-2443-9668-F2CDD41CC22E}"/>
    <dgm:cxn modelId="{E96B2CFD-0C07-5B41-87B1-6C518A057DBA}" type="presOf" srcId="{7D8FB5C0-71F4-9E42-B4EF-419C794EF543}" destId="{B63F5E24-D13F-F141-92B1-13A5A888279B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3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4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5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6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7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8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9" destOrd="0" presId="urn:microsoft.com/office/officeart/2008/layout/AscendingPictureAccentProcess"/>
    <dgm:cxn modelId="{0E97268F-828F-514E-8BC7-D5C7A2A2009A}" type="presParOf" srcId="{39F9D213-A42D-2544-9519-27775061A362}" destId="{B63F5E24-D13F-F141-92B1-13A5A888279B}" srcOrd="10" destOrd="0" presId="urn:microsoft.com/office/officeart/2008/layout/AscendingPictureAccentProcess"/>
    <dgm:cxn modelId="{A8C283A3-6F06-1543-8DBC-E6FD0F2A23FF}" type="presParOf" srcId="{39F9D213-A42D-2544-9519-27775061A362}" destId="{F8ED4E05-7268-7448-B647-521D00719045}" srcOrd="11" destOrd="0" presId="urn:microsoft.com/office/officeart/2008/layout/AscendingPictureAccentProcess"/>
    <dgm:cxn modelId="{2E06932B-3A38-3941-89D4-38DE1C0205C6}" type="presParOf" srcId="{F8ED4E05-7268-7448-B647-521D00719045}" destId="{E6688BFD-6BC7-AD44-A438-3DEE0833A02D}" srcOrd="0" destOrd="0" presId="urn:microsoft.com/office/officeart/2008/layout/AscendingPictureAccentProcess"/>
    <dgm:cxn modelId="{CFB5A124-4163-0140-B68B-22728279278C}" type="presParOf" srcId="{39F9D213-A42D-2544-9519-27775061A362}" destId="{A3C77071-8288-184C-B3B1-80513333E16D}" srcOrd="12" destOrd="0" presId="urn:microsoft.com/office/officeart/2008/layout/AscendingPictureAccentProcess"/>
    <dgm:cxn modelId="{095C0249-27F8-BC44-ADA3-E4A36983BFAD}" type="presParOf" srcId="{39F9D213-A42D-2544-9519-27775061A362}" destId="{DB023F60-802A-794F-BD3F-8D90F18140FA}" srcOrd="13" destOrd="0" presId="urn:microsoft.com/office/officeart/2008/layout/AscendingPictureAccentProcess"/>
    <dgm:cxn modelId="{80560AAE-25B3-8B47-A574-DC92414026D2}" type="presParOf" srcId="{DB023F60-802A-794F-BD3F-8D90F18140FA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400" b="1" dirty="0">
              <a:solidFill>
                <a:srgbClr val="941100"/>
              </a:solidFill>
            </a:rPr>
            <a:t>Il Presidente dirige la discussione indicando punti e tempi.  Quindi:</a:t>
          </a:r>
        </a:p>
        <a:p>
          <a:pPr algn="l"/>
          <a:r>
            <a:rPr lang="it-IT" sz="1400" b="0" dirty="0">
              <a:solidFill>
                <a:srgbClr val="941100"/>
              </a:solidFill>
            </a:rPr>
            <a:t>- il Relatore espone </a:t>
          </a:r>
          <a:r>
            <a:rPr lang="it-IT" sz="1400" b="0" u="sng" dirty="0">
              <a:solidFill>
                <a:srgbClr val="941100"/>
              </a:solidFill>
            </a:rPr>
            <a:t>in sintesi </a:t>
          </a:r>
          <a:r>
            <a:rPr lang="it-IT" sz="1400" b="0" dirty="0">
              <a:solidFill>
                <a:srgbClr val="941100"/>
              </a:solidFill>
            </a:rPr>
            <a:t>le questioni</a:t>
          </a:r>
        </a:p>
        <a:p>
          <a:pPr algn="l"/>
          <a:r>
            <a:rPr lang="it-IT" sz="1400" b="0" dirty="0">
              <a:solidFill>
                <a:srgbClr val="941100"/>
              </a:solidFill>
            </a:rPr>
            <a:t>- </a:t>
          </a:r>
          <a:r>
            <a:rPr lang="it-IT" sz="1400" b="0">
              <a:solidFill>
                <a:srgbClr val="941100"/>
              </a:solidFill>
            </a:rPr>
            <a:t>il P.M. </a:t>
          </a:r>
          <a:r>
            <a:rPr lang="it-IT" sz="1400" b="0" dirty="0">
              <a:solidFill>
                <a:srgbClr val="941100"/>
              </a:solidFill>
            </a:rPr>
            <a:t>(prima) espone le conclusioni motivate e i difensori delle Parti (poi) svolgono le difese</a:t>
          </a:r>
        </a:p>
        <a:p>
          <a:pPr algn="l"/>
          <a:r>
            <a:rPr lang="it-IT" sz="1400" b="0" dirty="0">
              <a:solidFill>
                <a:srgbClr val="941100"/>
              </a:solidFill>
            </a:rPr>
            <a:t>- non sono ammesse repliche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sz="1400" b="0" baseline="0" dirty="0">
              <a:solidFill>
                <a:srgbClr val="941100"/>
              </a:solidFill>
            </a:rPr>
            <a:t>- dopo la discussione e nella stessa seduta la Corte delibera la sentenza</a:t>
          </a:r>
        </a:p>
        <a:p>
          <a:r>
            <a:rPr lang="it-IT" sz="1400" b="0" baseline="0" dirty="0">
              <a:solidFill>
                <a:srgbClr val="941100"/>
              </a:solidFill>
            </a:rPr>
            <a:t>- la sentenza è depositata nei </a:t>
          </a:r>
          <a:r>
            <a:rPr lang="it-IT" sz="1400" b="1" baseline="0" dirty="0">
              <a:solidFill>
                <a:srgbClr val="941100"/>
              </a:solidFill>
            </a:rPr>
            <a:t>novanta</a:t>
          </a:r>
          <a:r>
            <a:rPr lang="it-IT" sz="1400" b="0" baseline="0" dirty="0">
              <a:solidFill>
                <a:srgbClr val="941100"/>
              </a:solidFill>
            </a:rPr>
            <a:t> giorni successivi</a:t>
          </a:r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0"/>
      <dgm:spPr/>
    </dgm:pt>
    <dgm:pt modelId="{854990D9-8209-7349-AF55-E51E75BDB965}" type="pres">
      <dgm:prSet presAssocID="{938FDDB0-DE61-FB46-8EB9-C42942D76A83}" presName="dot2" presStyleLbl="alignNode1" presStyleIdx="1" presStyleCnt="10"/>
      <dgm:spPr/>
    </dgm:pt>
    <dgm:pt modelId="{DD391417-38E1-9D43-A395-27B18694A18D}" type="pres">
      <dgm:prSet presAssocID="{938FDDB0-DE61-FB46-8EB9-C42942D76A83}" presName="dot3" presStyleLbl="alignNode1" presStyleIdx="2" presStyleCnt="10"/>
      <dgm:spPr/>
    </dgm:pt>
    <dgm:pt modelId="{41E57B03-9146-A34C-ADCA-CA576AC4C8F9}" type="pres">
      <dgm:prSet presAssocID="{938FDDB0-DE61-FB46-8EB9-C42942D76A83}" presName="dotArrow1" presStyleLbl="alignNode1" presStyleIdx="3" presStyleCnt="10" custLinFactY="283598" custLinFactNeighborY="300000"/>
      <dgm:spPr/>
    </dgm:pt>
    <dgm:pt modelId="{8ED45E39-4EDC-5C46-8959-60113D8DFB72}" type="pres">
      <dgm:prSet presAssocID="{938FDDB0-DE61-FB46-8EB9-C42942D76A83}" presName="dotArrow2" presStyleLbl="alignNode1" presStyleIdx="4" presStyleCnt="10" custLinFactY="232787" custLinFactNeighborY="300000"/>
      <dgm:spPr/>
    </dgm:pt>
    <dgm:pt modelId="{FEE20446-FD2F-E942-A5DB-3469BE499B02}" type="pres">
      <dgm:prSet presAssocID="{938FDDB0-DE61-FB46-8EB9-C42942D76A83}" presName="dotArrow3" presStyleLbl="alignNode1" presStyleIdx="5" presStyleCnt="10" custLinFactY="225452" custLinFactNeighborY="300000"/>
      <dgm:spPr/>
    </dgm:pt>
    <dgm:pt modelId="{D31B1761-8DC1-9548-807B-721048F3AEA6}" type="pres">
      <dgm:prSet presAssocID="{938FDDB0-DE61-FB46-8EB9-C42942D76A83}" presName="dotArrow4" presStyleLbl="alignNode1" presStyleIdx="6" presStyleCnt="10" custLinFactY="200000" custLinFactNeighborY="245839"/>
      <dgm:spPr/>
    </dgm:pt>
    <dgm:pt modelId="{A1131B47-C21C-7047-9FBD-99AA4AFF5416}" type="pres">
      <dgm:prSet presAssocID="{938FDDB0-DE61-FB46-8EB9-C42942D76A83}" presName="dotArrow5" presStyleLbl="alignNode1" presStyleIdx="7" presStyleCnt="10"/>
      <dgm:spPr/>
    </dgm:pt>
    <dgm:pt modelId="{5E739D56-E020-7D44-A36C-EE2C74388332}" type="pres">
      <dgm:prSet presAssocID="{938FDDB0-DE61-FB46-8EB9-C42942D76A83}" presName="dotArrow6" presStyleLbl="alignNode1" presStyleIdx="8" presStyleCnt="10" custLinFactY="200000" custLinFactNeighborY="287892"/>
      <dgm:spPr/>
    </dgm:pt>
    <dgm:pt modelId="{C2FBE9BB-DF12-9F4E-8160-3CF338A7E931}" type="pres">
      <dgm:prSet presAssocID="{938FDDB0-DE61-FB46-8EB9-C42942D76A83}" presName="dotArrow7" presStyleLbl="alignNode1" presStyleIdx="9" presStyleCnt="10" custLinFactY="89487" custLinFactNeighborY="100000"/>
      <dgm:spPr/>
    </dgm:pt>
    <dgm:pt modelId="{B63F5E24-D13F-F141-92B1-13A5A888279B}" type="pres">
      <dgm:prSet presAssocID="{7D8FB5C0-71F4-9E42-B4EF-419C794EF543}" presName="parTx1" presStyleLbl="node1" presStyleIdx="0" presStyleCnt="2" custScaleX="113873" custScaleY="150278" custLinFactNeighborX="38720" custLinFactNeighborY="-39778"/>
      <dgm:spPr/>
    </dgm:pt>
    <dgm:pt modelId="{F8ED4E05-7268-7448-B647-521D00719045}" type="pres">
      <dgm:prSet presAssocID="{FE62BA06-C827-B241-A948-B4481A798572}" presName="picture1" presStyleCnt="0"/>
      <dgm:spPr/>
    </dgm:pt>
    <dgm:pt modelId="{E6688BFD-6BC7-AD44-A438-3DEE0833A02D}" type="pres">
      <dgm:prSet presAssocID="{FE62BA06-C827-B241-A948-B4481A798572}" presName="imageRepeatNode" presStyleLbl="fgImgPlace1" presStyleIdx="0" presStyleCnt="2" custScaleX="86938" custScaleY="86944" custLinFactNeighborX="72071" custLinFactNeighborY="-23193"/>
      <dgm:spPr/>
    </dgm:pt>
    <dgm:pt modelId="{A3C77071-8288-184C-B3B1-80513333E16D}" type="pres">
      <dgm:prSet presAssocID="{B055AB70-259D-6044-A7AE-783FA93AC6BD}" presName="parTx2" presStyleLbl="node1" presStyleIdx="1" presStyleCnt="2" custScaleX="100773" custScaleY="262986" custLinFactNeighborX="5335" custLinFactNeighborY="-92018"/>
      <dgm:spPr/>
    </dgm:pt>
    <dgm:pt modelId="{DB023F60-802A-794F-BD3F-8D90F18140FA}" type="pres">
      <dgm:prSet presAssocID="{7A0B333A-4FC7-2443-9668-F2CDD41CC22E}" presName="picture2" presStyleCnt="0"/>
      <dgm:spPr/>
    </dgm:pt>
    <dgm:pt modelId="{E83022D8-BFFC-0C4D-9479-BA7FE8829A37}" type="pres">
      <dgm:prSet presAssocID="{7A0B333A-4FC7-2443-9668-F2CDD41CC22E}" presName="imageRepeatNode" presStyleLbl="fgImgPlace1" presStyleIdx="1" presStyleCnt="2" custScaleX="86938" custScaleY="86944" custLinFactNeighborX="11498" custLinFactNeighborY="-18401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506FD11B-6C74-0D4A-9B49-79654CDA38E6}" type="presOf" srcId="{FE62BA06-C827-B241-A948-B4481A798572}" destId="{E6688BFD-6BC7-AD44-A438-3DEE0833A02D}" srcOrd="0" destOrd="0" presId="urn:microsoft.com/office/officeart/2008/layout/AscendingPictureAccentProcess"/>
    <dgm:cxn modelId="{F6498227-275A-E64F-9F85-622DBEA162DB}" srcId="{938FDDB0-DE61-FB46-8EB9-C42942D76A83}" destId="{7D8FB5C0-71F4-9E42-B4EF-419C794EF543}" srcOrd="0" destOrd="0" parTransId="{B6D61610-356F-6944-A94F-984E40DBD493}" sibTransId="{FE62BA06-C827-B241-A948-B4481A798572}"/>
    <dgm:cxn modelId="{F49B2CA5-6D5E-FB4B-BA35-7AB18C1ECE68}" type="presOf" srcId="{7A0B333A-4FC7-2443-9668-F2CDD41CC22E}" destId="{E83022D8-BFFC-0C4D-9479-BA7FE8829A37}" srcOrd="0" destOrd="0" presId="urn:microsoft.com/office/officeart/2008/layout/AscendingPictureAccentProcess"/>
    <dgm:cxn modelId="{589CD6A5-EC24-9C4A-A1FD-ACCCD0B98F95}" type="presOf" srcId="{B055AB70-259D-6044-A7AE-783FA93AC6BD}" destId="{A3C77071-8288-184C-B3B1-80513333E16D}" srcOrd="0" destOrd="0" presId="urn:microsoft.com/office/officeart/2008/layout/AscendingPictureAccentProcess"/>
    <dgm:cxn modelId="{68D57DF3-691D-384D-AB6C-64CA05EAFC59}" srcId="{938FDDB0-DE61-FB46-8EB9-C42942D76A83}" destId="{B055AB70-259D-6044-A7AE-783FA93AC6BD}" srcOrd="1" destOrd="0" parTransId="{11A336AC-5392-ED4B-9A17-DCC5576B455F}" sibTransId="{7A0B333A-4FC7-2443-9668-F2CDD41CC22E}"/>
    <dgm:cxn modelId="{E96B2CFD-0C07-5B41-87B1-6C518A057DBA}" type="presOf" srcId="{7D8FB5C0-71F4-9E42-B4EF-419C794EF543}" destId="{B63F5E24-D13F-F141-92B1-13A5A888279B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3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4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5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6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7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8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9" destOrd="0" presId="urn:microsoft.com/office/officeart/2008/layout/AscendingPictureAccentProcess"/>
    <dgm:cxn modelId="{0E97268F-828F-514E-8BC7-D5C7A2A2009A}" type="presParOf" srcId="{39F9D213-A42D-2544-9519-27775061A362}" destId="{B63F5E24-D13F-F141-92B1-13A5A888279B}" srcOrd="10" destOrd="0" presId="urn:microsoft.com/office/officeart/2008/layout/AscendingPictureAccentProcess"/>
    <dgm:cxn modelId="{A8C283A3-6F06-1543-8DBC-E6FD0F2A23FF}" type="presParOf" srcId="{39F9D213-A42D-2544-9519-27775061A362}" destId="{F8ED4E05-7268-7448-B647-521D00719045}" srcOrd="11" destOrd="0" presId="urn:microsoft.com/office/officeart/2008/layout/AscendingPictureAccentProcess"/>
    <dgm:cxn modelId="{2E06932B-3A38-3941-89D4-38DE1C0205C6}" type="presParOf" srcId="{F8ED4E05-7268-7448-B647-521D00719045}" destId="{E6688BFD-6BC7-AD44-A438-3DEE0833A02D}" srcOrd="0" destOrd="0" presId="urn:microsoft.com/office/officeart/2008/layout/AscendingPictureAccentProcess"/>
    <dgm:cxn modelId="{CFB5A124-4163-0140-B68B-22728279278C}" type="presParOf" srcId="{39F9D213-A42D-2544-9519-27775061A362}" destId="{A3C77071-8288-184C-B3B1-80513333E16D}" srcOrd="12" destOrd="0" presId="urn:microsoft.com/office/officeart/2008/layout/AscendingPictureAccentProcess"/>
    <dgm:cxn modelId="{095C0249-27F8-BC44-ADA3-E4A36983BFAD}" type="presParOf" srcId="{39F9D213-A42D-2544-9519-27775061A362}" destId="{DB023F60-802A-794F-BD3F-8D90F18140FA}" srcOrd="13" destOrd="0" presId="urn:microsoft.com/office/officeart/2008/layout/AscendingPictureAccentProcess"/>
    <dgm:cxn modelId="{80560AAE-25B3-8B47-A574-DC92414026D2}" type="presParOf" srcId="{DB023F60-802A-794F-BD3F-8D90F18140FA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just"/>
          <a:r>
            <a:rPr lang="it-IT" sz="1200" b="1" u="none" dirty="0">
              <a:solidFill>
                <a:srgbClr val="941100"/>
              </a:solidFill>
            </a:rPr>
            <a:t>Il P.M.:</a:t>
          </a:r>
        </a:p>
        <a:p>
          <a:pPr algn="just"/>
          <a:r>
            <a:rPr lang="it-IT" sz="1200" b="0" u="none" dirty="0">
              <a:solidFill>
                <a:srgbClr val="941100"/>
              </a:solidFill>
            </a:rPr>
            <a:t>- può depositare conclusioni scritte </a:t>
          </a:r>
          <a:r>
            <a:rPr lang="it-IT" sz="1200" b="1" u="sng" dirty="0">
              <a:solidFill>
                <a:srgbClr val="941100"/>
              </a:solidFill>
            </a:rPr>
            <a:t>20 gg. prima</a:t>
          </a:r>
        </a:p>
        <a:p>
          <a:pPr algn="just"/>
          <a:endParaRPr lang="it-IT" sz="1200" b="0" u="none" dirty="0">
            <a:solidFill>
              <a:srgbClr val="941100"/>
            </a:solidFill>
          </a:endParaRPr>
        </a:p>
        <a:p>
          <a:pPr algn="just"/>
          <a:r>
            <a:rPr lang="it-IT" sz="1200" b="1" u="none" dirty="0">
              <a:solidFill>
                <a:srgbClr val="941100"/>
              </a:solidFill>
            </a:rPr>
            <a:t>Le Parti:</a:t>
          </a:r>
          <a:endParaRPr lang="it-IT" sz="1200" b="0" u="none" dirty="0">
            <a:solidFill>
              <a:srgbClr val="941100"/>
            </a:solidFill>
          </a:endParaRPr>
        </a:p>
        <a:p>
          <a:pPr algn="just"/>
          <a:r>
            <a:rPr lang="it-IT" sz="1200" b="0" u="none" dirty="0">
              <a:solidFill>
                <a:srgbClr val="941100"/>
              </a:solidFill>
            </a:rPr>
            <a:t>- </a:t>
          </a:r>
          <a:r>
            <a:rPr lang="it-IT" sz="1200" b="1" u="none" dirty="0">
              <a:solidFill>
                <a:srgbClr val="941100"/>
              </a:solidFill>
            </a:rPr>
            <a:t>sintetiche memorie </a:t>
          </a:r>
          <a:r>
            <a:rPr lang="it-IT" sz="1200" b="0" u="none" dirty="0">
              <a:solidFill>
                <a:srgbClr val="941100"/>
              </a:solidFill>
            </a:rPr>
            <a:t>illustrative </a:t>
          </a:r>
          <a:r>
            <a:rPr lang="it-IT" sz="1200" b="1" u="sng" dirty="0">
              <a:solidFill>
                <a:srgbClr val="941100"/>
              </a:solidFill>
            </a:rPr>
            <a:t>10 gg. prima</a:t>
          </a:r>
        </a:p>
        <a:p>
          <a:pPr algn="just"/>
          <a:endParaRPr lang="it-IT" sz="1200" b="1" u="sng" dirty="0">
            <a:solidFill>
              <a:srgbClr val="941100"/>
            </a:solidFill>
          </a:endParaRPr>
        </a:p>
        <a:p>
          <a:pPr algn="just"/>
          <a:r>
            <a:rPr lang="it-IT" sz="1200" b="1" u="none" dirty="0">
              <a:solidFill>
                <a:srgbClr val="941100"/>
              </a:solidFill>
            </a:rPr>
            <a:t>La Corte:</a:t>
          </a:r>
        </a:p>
        <a:p>
          <a:pPr algn="just"/>
          <a:r>
            <a:rPr lang="it-IT" sz="1200" b="0" u="none" dirty="0">
              <a:solidFill>
                <a:srgbClr val="941100"/>
              </a:solidFill>
            </a:rPr>
            <a:t>- deposita </a:t>
          </a:r>
          <a:r>
            <a:rPr lang="it-IT" sz="1200" b="1" u="none" dirty="0">
              <a:solidFill>
                <a:srgbClr val="941100"/>
              </a:solidFill>
            </a:rPr>
            <a:t>ordinanza</a:t>
          </a:r>
          <a:r>
            <a:rPr lang="it-IT" sz="1200" b="0" u="none" dirty="0">
              <a:solidFill>
                <a:srgbClr val="941100"/>
              </a:solidFill>
            </a:rPr>
            <a:t> </a:t>
          </a:r>
          <a:r>
            <a:rPr lang="it-IT" sz="1200" b="1" u="sng" dirty="0">
              <a:solidFill>
                <a:srgbClr val="941100"/>
              </a:solidFill>
            </a:rPr>
            <a:t>sinteticamente</a:t>
          </a:r>
          <a:r>
            <a:rPr lang="it-IT" sz="1200" b="0" u="none" dirty="0">
              <a:solidFill>
                <a:srgbClr val="941100"/>
              </a:solidFill>
            </a:rPr>
            <a:t> </a:t>
          </a:r>
          <a:r>
            <a:rPr lang="it-IT" sz="1200" b="1" u="none" dirty="0">
              <a:solidFill>
                <a:srgbClr val="941100"/>
              </a:solidFill>
            </a:rPr>
            <a:t>motivata</a:t>
          </a:r>
          <a:r>
            <a:rPr lang="it-IT" sz="1200" b="0" u="none" dirty="0">
              <a:solidFill>
                <a:srgbClr val="941100"/>
              </a:solidFill>
            </a:rPr>
            <a:t> al termine della camera di consiglio </a:t>
          </a:r>
          <a:r>
            <a:rPr lang="it-IT" sz="1200" b="1" u="sng" dirty="0">
              <a:solidFill>
                <a:srgbClr val="941100"/>
              </a:solidFill>
            </a:rPr>
            <a:t>o entro 60 gg.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2C06B55A-818B-2944-BF8C-5A5469955F17}" type="pres">
      <dgm:prSet presAssocID="{B055AB70-259D-6044-A7AE-783FA93AC6BD}" presName="parTx1" presStyleLbl="node1" presStyleIdx="0" presStyleCnt="1" custScaleX="72208" custScaleY="350017" custLinFactNeighborX="9427" custLinFactNeighborY="-1243"/>
      <dgm:spPr/>
    </dgm:pt>
    <dgm:pt modelId="{5C40988E-74EE-F74F-9A99-1991D53112AC}" type="pres">
      <dgm:prSet presAssocID="{7A0B333A-4FC7-2443-9668-F2CDD41CC22E}" presName="picture1" presStyleCnt="0"/>
      <dgm:spPr/>
    </dgm:pt>
    <dgm:pt modelId="{E83022D8-BFFC-0C4D-9479-BA7FE8829A37}" type="pres">
      <dgm:prSet presAssocID="{7A0B333A-4FC7-2443-9668-F2CDD41CC22E}" presName="imageRepeatNode" presStyleLbl="fgImgPlace1" presStyleIdx="0" presStyleCnt="1" custScaleX="77873" custScaleY="77861" custLinFactNeighborX="60504" custLinFactNeighborY="-935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188EEB71-2998-3049-AD56-F32C808BBA3E}" type="presOf" srcId="{B055AB70-259D-6044-A7AE-783FA93AC6BD}" destId="{2C06B55A-818B-2944-BF8C-5A5469955F17}" srcOrd="0" destOrd="0" presId="urn:microsoft.com/office/officeart/2008/layout/AscendingPictureAccentProcess"/>
    <dgm:cxn modelId="{824F169B-E46F-CA4C-B519-2CB03FD0B7B1}" type="presOf" srcId="{7A0B333A-4FC7-2443-9668-F2CDD41CC22E}" destId="{E83022D8-BFFC-0C4D-9479-BA7FE8829A37}" srcOrd="0" destOrd="0" presId="urn:microsoft.com/office/officeart/2008/layout/AscendingPictureAccentProcess"/>
    <dgm:cxn modelId="{68D57DF3-691D-384D-AB6C-64CA05EAFC59}" srcId="{938FDDB0-DE61-FB46-8EB9-C42942D76A83}" destId="{B055AB70-259D-6044-A7AE-783FA93AC6BD}" srcOrd="0" destOrd="0" parTransId="{11A336AC-5392-ED4B-9A17-DCC5576B455F}" sibTransId="{7A0B333A-4FC7-2443-9668-F2CDD41CC22E}"/>
    <dgm:cxn modelId="{38B9345C-C278-7A49-AFAF-C3C66BB39747}" type="presParOf" srcId="{39F9D213-A42D-2544-9519-27775061A362}" destId="{2C06B55A-818B-2944-BF8C-5A5469955F17}" srcOrd="0" destOrd="0" presId="urn:microsoft.com/office/officeart/2008/layout/AscendingPictureAccentProcess"/>
    <dgm:cxn modelId="{E44852E1-57AF-BD4D-8510-CB594A6F4F89}" type="presParOf" srcId="{39F9D213-A42D-2544-9519-27775061A362}" destId="{5C40988E-74EE-F74F-9A99-1991D53112AC}" srcOrd="1" destOrd="0" presId="urn:microsoft.com/office/officeart/2008/layout/AscendingPictureAccentProcess"/>
    <dgm:cxn modelId="{A1A9E8F8-89D0-9C44-8605-C79951058DB1}" type="presParOf" srcId="{5C40988E-74EE-F74F-9A99-1991D53112AC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it-IT" sz="1200" b="1" baseline="0" dirty="0">
              <a:solidFill>
                <a:srgbClr val="941100"/>
              </a:solidFill>
            </a:rPr>
            <a:t>La Cancelleria:</a:t>
          </a:r>
        </a:p>
        <a:p>
          <a:r>
            <a:rPr lang="it-IT" sz="1200" b="0" baseline="0" dirty="0">
              <a:solidFill>
                <a:srgbClr val="941100"/>
              </a:solidFill>
            </a:rPr>
            <a:t>- comunica al P.M. e ai difensori la data dell’adunanza almeno </a:t>
          </a:r>
          <a:r>
            <a:rPr lang="it-IT" sz="1200" b="1" u="sng" baseline="0" dirty="0">
              <a:solidFill>
                <a:srgbClr val="941100"/>
              </a:solidFill>
            </a:rPr>
            <a:t>60 gg. prima</a:t>
          </a:r>
        </a:p>
        <a:p>
          <a:endParaRPr lang="it-IT" sz="1200" b="1" u="none" dirty="0">
            <a:solidFill>
              <a:srgbClr val="941100"/>
            </a:solidFill>
          </a:endParaRPr>
        </a:p>
        <a:p>
          <a:r>
            <a:rPr lang="it-IT" sz="1200" b="1" u="none" dirty="0">
              <a:solidFill>
                <a:srgbClr val="941100"/>
              </a:solidFill>
            </a:rPr>
            <a:t>Il P.M.:</a:t>
          </a:r>
        </a:p>
        <a:p>
          <a:r>
            <a:rPr lang="it-IT" sz="1200" b="0" u="none" dirty="0">
              <a:solidFill>
                <a:srgbClr val="941100"/>
              </a:solidFill>
            </a:rPr>
            <a:t>- può depositare conclusioni scritte </a:t>
          </a:r>
          <a:r>
            <a:rPr lang="it-IT" sz="1200" b="1" u="sng" dirty="0">
              <a:solidFill>
                <a:srgbClr val="941100"/>
              </a:solidFill>
            </a:rPr>
            <a:t>20 gg. prima</a:t>
          </a:r>
        </a:p>
        <a:p>
          <a:endParaRPr lang="it-IT" sz="1200" b="0" u="none" dirty="0">
            <a:solidFill>
              <a:srgbClr val="941100"/>
            </a:solidFill>
          </a:endParaRPr>
        </a:p>
        <a:p>
          <a:r>
            <a:rPr lang="it-IT" sz="1200" b="1" u="none" dirty="0">
              <a:solidFill>
                <a:srgbClr val="941100"/>
              </a:solidFill>
            </a:rPr>
            <a:t>Le Parti:</a:t>
          </a:r>
          <a:endParaRPr lang="it-IT" sz="1200" b="0" u="none" dirty="0">
            <a:solidFill>
              <a:srgbClr val="941100"/>
            </a:solidFill>
          </a:endParaRPr>
        </a:p>
        <a:p>
          <a:r>
            <a:rPr lang="it-IT" sz="1200" b="0" u="none" dirty="0">
              <a:solidFill>
                <a:srgbClr val="941100"/>
              </a:solidFill>
            </a:rPr>
            <a:t>- </a:t>
          </a:r>
          <a:r>
            <a:rPr lang="it-IT" sz="1200" b="1" u="none" dirty="0">
              <a:solidFill>
                <a:srgbClr val="941100"/>
              </a:solidFill>
            </a:rPr>
            <a:t>sintetiche memorie </a:t>
          </a:r>
          <a:r>
            <a:rPr lang="it-IT" sz="1200" b="0" u="none" dirty="0">
              <a:solidFill>
                <a:srgbClr val="941100"/>
              </a:solidFill>
            </a:rPr>
            <a:t>illustrative </a:t>
          </a:r>
          <a:r>
            <a:rPr lang="it-IT" sz="1200" b="1" u="sng" dirty="0">
              <a:solidFill>
                <a:srgbClr val="941100"/>
              </a:solidFill>
            </a:rPr>
            <a:t>10 gg. prima</a:t>
          </a:r>
        </a:p>
        <a:p>
          <a:endParaRPr lang="it-IT" sz="1200" b="1" u="sng" dirty="0">
            <a:solidFill>
              <a:srgbClr val="941100"/>
            </a:solidFill>
          </a:endParaRPr>
        </a:p>
        <a:p>
          <a:r>
            <a:rPr lang="it-IT" sz="1200" b="1" u="none" dirty="0">
              <a:solidFill>
                <a:srgbClr val="941100"/>
              </a:solidFill>
            </a:rPr>
            <a:t>La Corte:</a:t>
          </a:r>
        </a:p>
        <a:p>
          <a:r>
            <a:rPr lang="it-IT" sz="1200" b="0" u="none" dirty="0">
              <a:solidFill>
                <a:srgbClr val="941100"/>
              </a:solidFill>
            </a:rPr>
            <a:t>- deposita </a:t>
          </a:r>
          <a:r>
            <a:rPr lang="it-IT" sz="1200" b="1" u="none" dirty="0">
              <a:solidFill>
                <a:srgbClr val="941100"/>
              </a:solidFill>
            </a:rPr>
            <a:t>ordinanza</a:t>
          </a:r>
          <a:r>
            <a:rPr lang="it-IT" sz="1200" b="0" u="none" dirty="0">
              <a:solidFill>
                <a:srgbClr val="941100"/>
              </a:solidFill>
            </a:rPr>
            <a:t> </a:t>
          </a:r>
          <a:r>
            <a:rPr lang="it-IT" sz="1200" b="1" u="none" dirty="0">
              <a:solidFill>
                <a:srgbClr val="941100"/>
              </a:solidFill>
            </a:rPr>
            <a:t>sinteticamente</a:t>
          </a:r>
          <a:r>
            <a:rPr lang="it-IT" sz="1200" b="0" u="none" dirty="0">
              <a:solidFill>
                <a:srgbClr val="941100"/>
              </a:solidFill>
            </a:rPr>
            <a:t> </a:t>
          </a:r>
          <a:r>
            <a:rPr lang="it-IT" sz="1200" b="1" u="none" dirty="0">
              <a:solidFill>
                <a:srgbClr val="941100"/>
              </a:solidFill>
            </a:rPr>
            <a:t>motivata</a:t>
          </a:r>
          <a:r>
            <a:rPr lang="it-IT" sz="1200" b="0" u="none" dirty="0">
              <a:solidFill>
                <a:srgbClr val="941100"/>
              </a:solidFill>
            </a:rPr>
            <a:t> al termine della camera di consiglio </a:t>
          </a:r>
          <a:r>
            <a:rPr lang="it-IT" sz="1200" b="1" u="sng" dirty="0">
              <a:solidFill>
                <a:srgbClr val="941100"/>
              </a:solidFill>
            </a:rPr>
            <a:t>o entro 60 gg.</a:t>
          </a:r>
          <a:endParaRPr lang="it-IT" sz="1200" b="0" dirty="0">
            <a:solidFill>
              <a:srgbClr val="941100"/>
            </a:solidFill>
          </a:endParaRP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BD7866EF-8568-E847-B684-73BEED9285B1}" type="pres">
      <dgm:prSet presAssocID="{B055AB70-259D-6044-A7AE-783FA93AC6BD}" presName="parTx1" presStyleLbl="node1" presStyleIdx="0" presStyleCnt="1" custScaleX="63042" custScaleY="375569" custLinFactNeighborX="12720" custLinFactNeighborY="-3124"/>
      <dgm:spPr/>
    </dgm:pt>
    <dgm:pt modelId="{19FA6D2B-0BC5-1641-B435-222E9365D60E}" type="pres">
      <dgm:prSet presAssocID="{7A0B333A-4FC7-2443-9668-F2CDD41CC22E}" presName="picture1" presStyleCnt="0"/>
      <dgm:spPr/>
    </dgm:pt>
    <dgm:pt modelId="{E83022D8-BFFC-0C4D-9479-BA7FE8829A37}" type="pres">
      <dgm:prSet presAssocID="{7A0B333A-4FC7-2443-9668-F2CDD41CC22E}" presName="imageRepeatNode" presStyleLbl="fgImgPlace1" presStyleIdx="0" presStyleCnt="1" custScaleX="86938" custScaleY="86944" custLinFactNeighborX="62152" custLinFactNeighborY="-21675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076B68A6-5F5B-4B49-9B02-D33AB028320D}" type="presOf" srcId="{B055AB70-259D-6044-A7AE-783FA93AC6BD}" destId="{BD7866EF-8568-E847-B684-73BEED9285B1}" srcOrd="0" destOrd="0" presId="urn:microsoft.com/office/officeart/2008/layout/AscendingPictureAccentProcess"/>
    <dgm:cxn modelId="{B930E3C3-F570-BB4A-9392-7DAB000D4D18}" type="presOf" srcId="{7A0B333A-4FC7-2443-9668-F2CDD41CC22E}" destId="{E83022D8-BFFC-0C4D-9479-BA7FE8829A37}" srcOrd="0" destOrd="0" presId="urn:microsoft.com/office/officeart/2008/layout/AscendingPictureAccentProcess"/>
    <dgm:cxn modelId="{68D57DF3-691D-384D-AB6C-64CA05EAFC59}" srcId="{938FDDB0-DE61-FB46-8EB9-C42942D76A83}" destId="{B055AB70-259D-6044-A7AE-783FA93AC6BD}" srcOrd="0" destOrd="0" parTransId="{11A336AC-5392-ED4B-9A17-DCC5576B455F}" sibTransId="{7A0B333A-4FC7-2443-9668-F2CDD41CC22E}"/>
    <dgm:cxn modelId="{5D227831-6EF2-1044-85EB-AA638A51790E}" type="presParOf" srcId="{39F9D213-A42D-2544-9519-27775061A362}" destId="{BD7866EF-8568-E847-B684-73BEED9285B1}" srcOrd="0" destOrd="0" presId="urn:microsoft.com/office/officeart/2008/layout/AscendingPictureAccentProcess"/>
    <dgm:cxn modelId="{77DF72A4-E46C-3B49-8378-AB14D14B615A}" type="presParOf" srcId="{39F9D213-A42D-2544-9519-27775061A362}" destId="{19FA6D2B-0BC5-1641-B435-222E9365D60E}" srcOrd="1" destOrd="0" presId="urn:microsoft.com/office/officeart/2008/layout/AscendingPictureAccentProcess"/>
    <dgm:cxn modelId="{BE66B828-BCAC-0C47-9D46-CB29D2F28C47}" type="presParOf" srcId="{19FA6D2B-0BC5-1641-B435-222E9365D60E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38FDDB0-DE61-FB46-8EB9-C42942D76A83}" type="doc">
      <dgm:prSet loTypeId="urn:microsoft.com/office/officeart/2008/layout/AscendingPictureAccentProcess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it-IT"/>
        </a:p>
      </dgm:t>
    </dgm:pt>
    <dgm:pt modelId="{7D8FB5C0-71F4-9E42-B4EF-419C794EF543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just"/>
          <a:r>
            <a:rPr lang="it-IT" sz="1200" b="1" baseline="0" dirty="0">
              <a:solidFill>
                <a:srgbClr val="941100"/>
              </a:solidFill>
            </a:rPr>
            <a:t>INTRODOTTA </a:t>
          </a:r>
          <a:r>
            <a:rPr lang="it-IT" sz="1200" b="0" baseline="0" dirty="0">
              <a:solidFill>
                <a:srgbClr val="941100"/>
              </a:solidFill>
            </a:rPr>
            <a:t>«</a:t>
          </a:r>
          <a:r>
            <a:rPr lang="it-IT" sz="1200" b="0" i="1" baseline="0" dirty="0">
              <a:solidFill>
                <a:srgbClr val="941100"/>
              </a:solidFill>
            </a:rPr>
            <a:t>nei casi di cui all’art. 391 quater c.p.c.</a:t>
          </a:r>
          <a:r>
            <a:rPr lang="it-IT" sz="1200" b="0" baseline="0" dirty="0">
              <a:solidFill>
                <a:srgbClr val="941100"/>
              </a:solidFill>
            </a:rPr>
            <a:t>» </a:t>
          </a:r>
          <a:r>
            <a:rPr lang="it-IT" sz="1200" b="1" baseline="0" dirty="0">
              <a:solidFill>
                <a:srgbClr val="941100"/>
              </a:solidFill>
            </a:rPr>
            <a:t>a decorrere dal 28 febbraio 2023</a:t>
          </a:r>
          <a:r>
            <a:rPr lang="it-IT" sz="1200" b="0" baseline="0" dirty="0">
              <a:solidFill>
                <a:srgbClr val="941100"/>
              </a:solidFill>
            </a:rPr>
            <a:t> e per i procedimenti instaurati successivamente a tale data</a:t>
          </a:r>
          <a:endParaRPr lang="it-IT" sz="1200" b="0" u="sng" baseline="0" dirty="0">
            <a:solidFill>
              <a:srgbClr val="941100"/>
            </a:solidFill>
          </a:endParaRPr>
        </a:p>
      </dgm:t>
    </dgm:pt>
    <dgm:pt modelId="{B6D61610-356F-6944-A94F-984E40DBD493}" type="parTrans" cxnId="{F6498227-275A-E64F-9F85-622DBEA162DB}">
      <dgm:prSet/>
      <dgm:spPr/>
      <dgm:t>
        <a:bodyPr/>
        <a:lstStyle/>
        <a:p>
          <a:endParaRPr lang="it-IT"/>
        </a:p>
      </dgm:t>
    </dgm:pt>
    <dgm:pt modelId="{FE62BA06-C827-B241-A948-B4481A798572}" type="sibTrans" cxnId="{F6498227-275A-E64F-9F85-622DBEA162DB}">
      <dgm:prSet/>
      <dgm:spPr>
        <a:solidFill>
          <a:srgbClr val="941100"/>
        </a:solidFill>
      </dgm:spPr>
      <dgm:t>
        <a:bodyPr/>
        <a:lstStyle/>
        <a:p>
          <a:endParaRPr lang="it-IT"/>
        </a:p>
      </dgm:t>
    </dgm:pt>
    <dgm:pt modelId="{B055AB70-259D-6044-A7AE-783FA93AC6BD}">
      <dgm:prSet custT="1"/>
      <dgm:spPr>
        <a:solidFill>
          <a:schemeClr val="bg1">
            <a:lumMod val="85000"/>
          </a:schemeClr>
        </a:solidFill>
      </dgm:spPr>
      <dgm:t>
        <a:bodyPr/>
        <a:lstStyle/>
        <a:p>
          <a:pPr algn="l"/>
          <a:r>
            <a:rPr lang="it-IT" sz="1200" b="1" dirty="0">
              <a:solidFill>
                <a:srgbClr val="941100"/>
              </a:solidFill>
            </a:rPr>
            <a:t>CORREZIONE: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d’Ufficio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con ricorso della Parte interessata avverso sentenze, ordinanze o decreti (di estinzione nel rito «accelerato»: art. 380 </a:t>
          </a:r>
          <a:r>
            <a:rPr lang="it-IT" sz="1200" b="0" i="1" dirty="0">
              <a:solidFill>
                <a:srgbClr val="941100"/>
              </a:solidFill>
            </a:rPr>
            <a:t>bis</a:t>
          </a:r>
          <a:r>
            <a:rPr lang="it-IT" sz="1200" b="0" dirty="0">
              <a:solidFill>
                <a:srgbClr val="941100"/>
              </a:solidFill>
            </a:rPr>
            <a:t>)</a:t>
          </a:r>
          <a:r>
            <a:rPr lang="it-IT" sz="1200" b="1" dirty="0">
              <a:solidFill>
                <a:srgbClr val="941100"/>
              </a:solidFill>
            </a:rPr>
            <a:t> in qualsiasi tempo</a:t>
          </a:r>
          <a:endParaRPr lang="it-IT" sz="1200" b="0" dirty="0">
            <a:solidFill>
              <a:srgbClr val="941100"/>
            </a:solidFill>
          </a:endParaRPr>
        </a:p>
        <a:p>
          <a:pPr algn="just"/>
          <a:endParaRPr lang="it-IT" sz="1200" b="0" dirty="0">
            <a:solidFill>
              <a:srgbClr val="941100"/>
            </a:solidFill>
          </a:endParaRPr>
        </a:p>
        <a:p>
          <a:pPr algn="l"/>
          <a:r>
            <a:rPr lang="it-IT" sz="1200" b="1" dirty="0">
              <a:solidFill>
                <a:srgbClr val="941100"/>
              </a:solidFill>
            </a:rPr>
            <a:t>REVOCAZIONE:</a:t>
          </a:r>
        </a:p>
        <a:p>
          <a:pPr algn="just"/>
          <a:r>
            <a:rPr lang="it-IT" sz="1200" b="0" dirty="0">
              <a:solidFill>
                <a:srgbClr val="941100"/>
              </a:solidFill>
            </a:rPr>
            <a:t>- come sopra a istanza di Parte, </a:t>
          </a:r>
          <a:r>
            <a:rPr lang="it-IT" sz="1200" b="1" u="sng" dirty="0">
              <a:solidFill>
                <a:srgbClr val="941100"/>
              </a:solidFill>
            </a:rPr>
            <a:t>MA</a:t>
          </a:r>
          <a:r>
            <a:rPr lang="it-IT" sz="1200" b="0" u="none" dirty="0">
              <a:solidFill>
                <a:srgbClr val="941100"/>
              </a:solidFill>
            </a:rPr>
            <a:t> nel termine di </a:t>
          </a:r>
          <a:r>
            <a:rPr lang="it-IT" sz="1200" b="1" u="none" dirty="0">
              <a:solidFill>
                <a:srgbClr val="941100"/>
              </a:solidFill>
            </a:rPr>
            <a:t>60 gg.</a:t>
          </a:r>
          <a:r>
            <a:rPr lang="it-IT" sz="1200" b="0" u="none" dirty="0">
              <a:solidFill>
                <a:srgbClr val="941100"/>
              </a:solidFill>
            </a:rPr>
            <a:t> dalla notificazione ovvero </a:t>
          </a:r>
          <a:r>
            <a:rPr lang="it-IT" sz="1200" b="1" u="none" dirty="0">
              <a:solidFill>
                <a:srgbClr val="941100"/>
              </a:solidFill>
            </a:rPr>
            <a:t>6 mesi</a:t>
          </a:r>
          <a:r>
            <a:rPr lang="it-IT" sz="1200" b="0" u="none" dirty="0">
              <a:solidFill>
                <a:srgbClr val="941100"/>
              </a:solidFill>
            </a:rPr>
            <a:t> dalla pubblicazione del provvedimento</a:t>
          </a:r>
        </a:p>
      </dgm:t>
    </dgm:pt>
    <dgm:pt modelId="{11A336AC-5392-ED4B-9A17-DCC5576B455F}" type="parTrans" cxnId="{68D57DF3-691D-384D-AB6C-64CA05EAFC59}">
      <dgm:prSet/>
      <dgm:spPr/>
      <dgm:t>
        <a:bodyPr/>
        <a:lstStyle/>
        <a:p>
          <a:endParaRPr lang="it-IT"/>
        </a:p>
      </dgm:t>
    </dgm:pt>
    <dgm:pt modelId="{7A0B333A-4FC7-2443-9668-F2CDD41CC22E}" type="sibTrans" cxnId="{68D57DF3-691D-384D-AB6C-64CA05EAFC59}">
      <dgm:prSet/>
      <dgm:spPr>
        <a:solidFill>
          <a:srgbClr val="941100"/>
        </a:solidFill>
      </dgm:spPr>
      <dgm:t>
        <a:bodyPr/>
        <a:lstStyle/>
        <a:p>
          <a:endParaRPr lang="it-IT">
            <a:solidFill>
              <a:srgbClr val="941100"/>
            </a:solidFill>
          </a:endParaRPr>
        </a:p>
      </dgm:t>
    </dgm:pt>
    <dgm:pt modelId="{39F9D213-A42D-2544-9519-27775061A362}" type="pres">
      <dgm:prSet presAssocID="{938FDDB0-DE61-FB46-8EB9-C42942D76A83}" presName="Name0" presStyleCnt="0">
        <dgm:presLayoutVars>
          <dgm:chMax val="7"/>
          <dgm:chPref val="7"/>
          <dgm:dir/>
        </dgm:presLayoutVars>
      </dgm:prSet>
      <dgm:spPr/>
    </dgm:pt>
    <dgm:pt modelId="{8DBB7312-C93E-B547-8908-5EBDB8AF2CD3}" type="pres">
      <dgm:prSet presAssocID="{938FDDB0-DE61-FB46-8EB9-C42942D76A83}" presName="dot1" presStyleLbl="alignNode1" presStyleIdx="0" presStyleCnt="10" custScaleX="82645" custScaleY="51316" custLinFactY="286040" custLinFactNeighborY="300000"/>
      <dgm:spPr/>
    </dgm:pt>
    <dgm:pt modelId="{854990D9-8209-7349-AF55-E51E75BDB965}" type="pres">
      <dgm:prSet presAssocID="{938FDDB0-DE61-FB46-8EB9-C42942D76A83}" presName="dot2" presStyleLbl="alignNode1" presStyleIdx="1" presStyleCnt="10" custLinFactY="177840" custLinFactNeighborY="200000"/>
      <dgm:spPr/>
    </dgm:pt>
    <dgm:pt modelId="{DD391417-38E1-9D43-A395-27B18694A18D}" type="pres">
      <dgm:prSet presAssocID="{938FDDB0-DE61-FB46-8EB9-C42942D76A83}" presName="dot3" presStyleLbl="alignNode1" presStyleIdx="2" presStyleCnt="10" custLinFactY="143246" custLinFactNeighborY="200000"/>
      <dgm:spPr/>
    </dgm:pt>
    <dgm:pt modelId="{41E57B03-9146-A34C-ADCA-CA576AC4C8F9}" type="pres">
      <dgm:prSet presAssocID="{938FDDB0-DE61-FB46-8EB9-C42942D76A83}" presName="dotArrow1" presStyleLbl="alignNode1" presStyleIdx="3" presStyleCnt="10" custLinFactY="200000" custLinFactNeighborY="246454"/>
      <dgm:spPr/>
    </dgm:pt>
    <dgm:pt modelId="{8ED45E39-4EDC-5C46-8959-60113D8DFB72}" type="pres">
      <dgm:prSet presAssocID="{938FDDB0-DE61-FB46-8EB9-C42942D76A83}" presName="dotArrow2" presStyleLbl="alignNode1" presStyleIdx="4" presStyleCnt="10" custLinFactY="195644" custLinFactNeighborY="200000"/>
      <dgm:spPr/>
    </dgm:pt>
    <dgm:pt modelId="{FEE20446-FD2F-E942-A5DB-3469BE499B02}" type="pres">
      <dgm:prSet presAssocID="{938FDDB0-DE61-FB46-8EB9-C42942D76A83}" presName="dotArrow3" presStyleLbl="alignNode1" presStyleIdx="5" presStyleCnt="10" custLinFactY="188309" custLinFactNeighborY="200000"/>
      <dgm:spPr/>
    </dgm:pt>
    <dgm:pt modelId="{D31B1761-8DC1-9548-807B-721048F3AEA6}" type="pres">
      <dgm:prSet presAssocID="{938FDDB0-DE61-FB46-8EB9-C42942D76A83}" presName="dotArrow4" presStyleLbl="alignNode1" presStyleIdx="6" presStyleCnt="10" custLinFactY="108696" custLinFactNeighborY="200000"/>
      <dgm:spPr/>
    </dgm:pt>
    <dgm:pt modelId="{A1131B47-C21C-7047-9FBD-99AA4AFF5416}" type="pres">
      <dgm:prSet presAssocID="{938FDDB0-DE61-FB46-8EB9-C42942D76A83}" presName="dotArrow5" presStyleLbl="alignNode1" presStyleIdx="7" presStyleCnt="10"/>
      <dgm:spPr/>
    </dgm:pt>
    <dgm:pt modelId="{5E739D56-E020-7D44-A36C-EE2C74388332}" type="pres">
      <dgm:prSet presAssocID="{938FDDB0-DE61-FB46-8EB9-C42942D76A83}" presName="dotArrow6" presStyleLbl="alignNode1" presStyleIdx="8" presStyleCnt="10" custLinFactY="107275" custLinFactNeighborY="200000"/>
      <dgm:spPr/>
    </dgm:pt>
    <dgm:pt modelId="{C2FBE9BB-DF12-9F4E-8160-3CF338A7E931}" type="pres">
      <dgm:prSet presAssocID="{938FDDB0-DE61-FB46-8EB9-C42942D76A83}" presName="dotArrow7" presStyleLbl="alignNode1" presStyleIdx="9" presStyleCnt="10"/>
      <dgm:spPr/>
    </dgm:pt>
    <dgm:pt modelId="{B63F5E24-D13F-F141-92B1-13A5A888279B}" type="pres">
      <dgm:prSet presAssocID="{7D8FB5C0-71F4-9E42-B4EF-419C794EF543}" presName="parTx1" presStyleLbl="node1" presStyleIdx="0" presStyleCnt="2" custScaleX="111089" custScaleY="175690" custLinFactNeighborX="35867" custLinFactNeighborY="-23823"/>
      <dgm:spPr/>
    </dgm:pt>
    <dgm:pt modelId="{F8ED4E05-7268-7448-B647-521D00719045}" type="pres">
      <dgm:prSet presAssocID="{FE62BA06-C827-B241-A948-B4481A798572}" presName="picture1" presStyleCnt="0"/>
      <dgm:spPr/>
    </dgm:pt>
    <dgm:pt modelId="{E6688BFD-6BC7-AD44-A438-3DEE0833A02D}" type="pres">
      <dgm:prSet presAssocID="{FE62BA06-C827-B241-A948-B4481A798572}" presName="imageRepeatNode" presStyleLbl="fgImgPlace1" presStyleIdx="0" presStyleCnt="2" custScaleX="86938" custScaleY="86944" custLinFactNeighborX="66500" custLinFactNeighborY="27535"/>
      <dgm:spPr/>
    </dgm:pt>
    <dgm:pt modelId="{A3C77071-8288-184C-B3B1-80513333E16D}" type="pres">
      <dgm:prSet presAssocID="{B055AB70-259D-6044-A7AE-783FA93AC6BD}" presName="parTx2" presStyleLbl="node1" presStyleIdx="1" presStyleCnt="2" custScaleX="105812" custScaleY="276817" custLinFactNeighborX="3056" custLinFactNeighborY="-86391"/>
      <dgm:spPr/>
    </dgm:pt>
    <dgm:pt modelId="{DB023F60-802A-794F-BD3F-8D90F18140FA}" type="pres">
      <dgm:prSet presAssocID="{7A0B333A-4FC7-2443-9668-F2CDD41CC22E}" presName="picture2" presStyleCnt="0"/>
      <dgm:spPr/>
    </dgm:pt>
    <dgm:pt modelId="{E83022D8-BFFC-0C4D-9479-BA7FE8829A37}" type="pres">
      <dgm:prSet presAssocID="{7A0B333A-4FC7-2443-9668-F2CDD41CC22E}" presName="imageRepeatNode" presStyleLbl="fgImgPlace1" presStyleIdx="1" presStyleCnt="2" custScaleX="86938" custScaleY="86944" custLinFactNeighborX="11498" custLinFactNeighborY="-28853"/>
      <dgm:spPr/>
    </dgm:pt>
  </dgm:ptLst>
  <dgm:cxnLst>
    <dgm:cxn modelId="{C7D6871A-0920-374E-84B0-26D08F47C620}" type="presOf" srcId="{938FDDB0-DE61-FB46-8EB9-C42942D76A83}" destId="{39F9D213-A42D-2544-9519-27775061A362}" srcOrd="0" destOrd="0" presId="urn:microsoft.com/office/officeart/2008/layout/AscendingPictureAccentProcess"/>
    <dgm:cxn modelId="{506FD11B-6C74-0D4A-9B49-79654CDA38E6}" type="presOf" srcId="{FE62BA06-C827-B241-A948-B4481A798572}" destId="{E6688BFD-6BC7-AD44-A438-3DEE0833A02D}" srcOrd="0" destOrd="0" presId="urn:microsoft.com/office/officeart/2008/layout/AscendingPictureAccentProcess"/>
    <dgm:cxn modelId="{F6498227-275A-E64F-9F85-622DBEA162DB}" srcId="{938FDDB0-DE61-FB46-8EB9-C42942D76A83}" destId="{7D8FB5C0-71F4-9E42-B4EF-419C794EF543}" srcOrd="0" destOrd="0" parTransId="{B6D61610-356F-6944-A94F-984E40DBD493}" sibTransId="{FE62BA06-C827-B241-A948-B4481A798572}"/>
    <dgm:cxn modelId="{F49B2CA5-6D5E-FB4B-BA35-7AB18C1ECE68}" type="presOf" srcId="{7A0B333A-4FC7-2443-9668-F2CDD41CC22E}" destId="{E83022D8-BFFC-0C4D-9479-BA7FE8829A37}" srcOrd="0" destOrd="0" presId="urn:microsoft.com/office/officeart/2008/layout/AscendingPictureAccentProcess"/>
    <dgm:cxn modelId="{589CD6A5-EC24-9C4A-A1FD-ACCCD0B98F95}" type="presOf" srcId="{B055AB70-259D-6044-A7AE-783FA93AC6BD}" destId="{A3C77071-8288-184C-B3B1-80513333E16D}" srcOrd="0" destOrd="0" presId="urn:microsoft.com/office/officeart/2008/layout/AscendingPictureAccentProcess"/>
    <dgm:cxn modelId="{68D57DF3-691D-384D-AB6C-64CA05EAFC59}" srcId="{938FDDB0-DE61-FB46-8EB9-C42942D76A83}" destId="{B055AB70-259D-6044-A7AE-783FA93AC6BD}" srcOrd="1" destOrd="0" parTransId="{11A336AC-5392-ED4B-9A17-DCC5576B455F}" sibTransId="{7A0B333A-4FC7-2443-9668-F2CDD41CC22E}"/>
    <dgm:cxn modelId="{E96B2CFD-0C07-5B41-87B1-6C518A057DBA}" type="presOf" srcId="{7D8FB5C0-71F4-9E42-B4EF-419C794EF543}" destId="{B63F5E24-D13F-F141-92B1-13A5A888279B}" srcOrd="0" destOrd="0" presId="urn:microsoft.com/office/officeart/2008/layout/AscendingPictureAccentProcess"/>
    <dgm:cxn modelId="{D72450E1-181A-9847-AD98-6DD00E6FF382}" type="presParOf" srcId="{39F9D213-A42D-2544-9519-27775061A362}" destId="{8DBB7312-C93E-B547-8908-5EBDB8AF2CD3}" srcOrd="0" destOrd="0" presId="urn:microsoft.com/office/officeart/2008/layout/AscendingPictureAccentProcess"/>
    <dgm:cxn modelId="{A680E5D7-753E-D545-B04C-3B49E97E4D2F}" type="presParOf" srcId="{39F9D213-A42D-2544-9519-27775061A362}" destId="{854990D9-8209-7349-AF55-E51E75BDB965}" srcOrd="1" destOrd="0" presId="urn:microsoft.com/office/officeart/2008/layout/AscendingPictureAccentProcess"/>
    <dgm:cxn modelId="{2D6D880C-2AB1-D14A-9932-E2E464E6DCC5}" type="presParOf" srcId="{39F9D213-A42D-2544-9519-27775061A362}" destId="{DD391417-38E1-9D43-A395-27B18694A18D}" srcOrd="2" destOrd="0" presId="urn:microsoft.com/office/officeart/2008/layout/AscendingPictureAccentProcess"/>
    <dgm:cxn modelId="{60429D6A-46D3-FE45-B7BA-7241968917DD}" type="presParOf" srcId="{39F9D213-A42D-2544-9519-27775061A362}" destId="{41E57B03-9146-A34C-ADCA-CA576AC4C8F9}" srcOrd="3" destOrd="0" presId="urn:microsoft.com/office/officeart/2008/layout/AscendingPictureAccentProcess"/>
    <dgm:cxn modelId="{C71973AC-BE9F-5645-8275-E23D8133D472}" type="presParOf" srcId="{39F9D213-A42D-2544-9519-27775061A362}" destId="{8ED45E39-4EDC-5C46-8959-60113D8DFB72}" srcOrd="4" destOrd="0" presId="urn:microsoft.com/office/officeart/2008/layout/AscendingPictureAccentProcess"/>
    <dgm:cxn modelId="{E61A5BA9-2B6C-E342-BDB8-522BDA956EE1}" type="presParOf" srcId="{39F9D213-A42D-2544-9519-27775061A362}" destId="{FEE20446-FD2F-E942-A5DB-3469BE499B02}" srcOrd="5" destOrd="0" presId="urn:microsoft.com/office/officeart/2008/layout/AscendingPictureAccentProcess"/>
    <dgm:cxn modelId="{C5774EC3-41B9-0C42-A1B0-BDB8494DD21F}" type="presParOf" srcId="{39F9D213-A42D-2544-9519-27775061A362}" destId="{D31B1761-8DC1-9548-807B-721048F3AEA6}" srcOrd="6" destOrd="0" presId="urn:microsoft.com/office/officeart/2008/layout/AscendingPictureAccentProcess"/>
    <dgm:cxn modelId="{A4558076-0ABA-7641-82C6-B3776716CBEC}" type="presParOf" srcId="{39F9D213-A42D-2544-9519-27775061A362}" destId="{A1131B47-C21C-7047-9FBD-99AA4AFF5416}" srcOrd="7" destOrd="0" presId="urn:microsoft.com/office/officeart/2008/layout/AscendingPictureAccentProcess"/>
    <dgm:cxn modelId="{90A3F501-4A8D-0045-A427-F818BDCE8275}" type="presParOf" srcId="{39F9D213-A42D-2544-9519-27775061A362}" destId="{5E739D56-E020-7D44-A36C-EE2C74388332}" srcOrd="8" destOrd="0" presId="urn:microsoft.com/office/officeart/2008/layout/AscendingPictureAccentProcess"/>
    <dgm:cxn modelId="{FB147E8A-24F9-B44B-ACAB-87D9753154A2}" type="presParOf" srcId="{39F9D213-A42D-2544-9519-27775061A362}" destId="{C2FBE9BB-DF12-9F4E-8160-3CF338A7E931}" srcOrd="9" destOrd="0" presId="urn:microsoft.com/office/officeart/2008/layout/AscendingPictureAccentProcess"/>
    <dgm:cxn modelId="{0E97268F-828F-514E-8BC7-D5C7A2A2009A}" type="presParOf" srcId="{39F9D213-A42D-2544-9519-27775061A362}" destId="{B63F5E24-D13F-F141-92B1-13A5A888279B}" srcOrd="10" destOrd="0" presId="urn:microsoft.com/office/officeart/2008/layout/AscendingPictureAccentProcess"/>
    <dgm:cxn modelId="{A8C283A3-6F06-1543-8DBC-E6FD0F2A23FF}" type="presParOf" srcId="{39F9D213-A42D-2544-9519-27775061A362}" destId="{F8ED4E05-7268-7448-B647-521D00719045}" srcOrd="11" destOrd="0" presId="urn:microsoft.com/office/officeart/2008/layout/AscendingPictureAccentProcess"/>
    <dgm:cxn modelId="{2E06932B-3A38-3941-89D4-38DE1C0205C6}" type="presParOf" srcId="{F8ED4E05-7268-7448-B647-521D00719045}" destId="{E6688BFD-6BC7-AD44-A438-3DEE0833A02D}" srcOrd="0" destOrd="0" presId="urn:microsoft.com/office/officeart/2008/layout/AscendingPictureAccentProcess"/>
    <dgm:cxn modelId="{CFB5A124-4163-0140-B68B-22728279278C}" type="presParOf" srcId="{39F9D213-A42D-2544-9519-27775061A362}" destId="{A3C77071-8288-184C-B3B1-80513333E16D}" srcOrd="12" destOrd="0" presId="urn:microsoft.com/office/officeart/2008/layout/AscendingPictureAccentProcess"/>
    <dgm:cxn modelId="{095C0249-27F8-BC44-ADA3-E4A36983BFAD}" type="presParOf" srcId="{39F9D213-A42D-2544-9519-27775061A362}" destId="{DB023F60-802A-794F-BD3F-8D90F18140FA}" srcOrd="13" destOrd="0" presId="urn:microsoft.com/office/officeart/2008/layout/AscendingPictureAccentProcess"/>
    <dgm:cxn modelId="{80560AAE-25B3-8B47-A574-DC92414026D2}" type="presParOf" srcId="{DB023F60-802A-794F-BD3F-8D90F18140FA}" destId="{E83022D8-BFFC-0C4D-9479-BA7FE8829A37}" srcOrd="0" destOrd="0" presId="urn:microsoft.com/office/officeart/2008/layout/AscendingPictureAccentProcess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289258" y="3666056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031627" y="3790077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1761694" y="3888040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242D2F-616E-2F43-9845-48C3B2E5C10D}">
      <dsp:nvSpPr>
        <dsp:cNvPr id="0" name=""/>
        <dsp:cNvSpPr/>
      </dsp:nvSpPr>
      <dsp:spPr>
        <a:xfrm>
          <a:off x="3526163" y="2230399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A4637C-E545-1043-8586-141EAFC2DA3D}">
      <dsp:nvSpPr>
        <dsp:cNvPr id="0" name=""/>
        <dsp:cNvSpPr/>
      </dsp:nvSpPr>
      <dsp:spPr>
        <a:xfrm>
          <a:off x="3422290" y="2482785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3348486" y="782309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3538464" y="710301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3728441" y="710302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3918419" y="854317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4108397" y="494277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3695003" y="854318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3728441" y="598334"/>
          <a:ext cx="136674" cy="1366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7B86B1-BE47-294C-8C41-C00A9B8C0B99}">
      <dsp:nvSpPr>
        <dsp:cNvPr id="0" name=""/>
        <dsp:cNvSpPr/>
      </dsp:nvSpPr>
      <dsp:spPr>
        <a:xfrm>
          <a:off x="2517983" y="3637290"/>
          <a:ext cx="3959995" cy="2052000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008" tIns="45720" rIns="45720" bIns="45720" numCol="1" spcCol="1270" anchor="ctr" anchorCtr="0">
          <a:noAutofit/>
        </a:bodyPr>
        <a:lstStyle/>
        <a:p>
          <a:pPr marL="12700" lvl="0" indent="-1270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in PCT</a:t>
          </a:r>
        </a:p>
        <a:p>
          <a:pPr marL="12700" lvl="0" indent="-1270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entro 40 gg se trattasi di integrazione del contraddittorio o rinnovo notifica (</a:t>
          </a:r>
          <a:r>
            <a:rPr lang="it-IT" sz="1200" b="0" i="1" kern="1200" baseline="0" dirty="0" err="1">
              <a:solidFill>
                <a:srgbClr val="941100"/>
              </a:solidFill>
            </a:rPr>
            <a:t>aliter</a:t>
          </a:r>
          <a:r>
            <a:rPr lang="it-IT" sz="1200" b="0" kern="1200" baseline="0" dirty="0">
              <a:solidFill>
                <a:srgbClr val="941100"/>
              </a:solidFill>
            </a:rPr>
            <a:t> </a:t>
          </a:r>
          <a:r>
            <a:rPr lang="it-IT" sz="1200" b="1" kern="1200" baseline="0" dirty="0">
              <a:solidFill>
                <a:srgbClr val="941100"/>
              </a:solidFill>
            </a:rPr>
            <a:t>entro 20 gg. dalla notificazione? NO: </a:t>
          </a:r>
          <a:r>
            <a:rPr lang="it-IT" sz="1200" b="0" kern="1200" baseline="0" dirty="0">
              <a:solidFill>
                <a:srgbClr val="941100"/>
              </a:solidFill>
            </a:rPr>
            <a:t>cfr. principio dell’unicità del processo di impugnazione: Cass. 2325/2023 e 4312/2023)</a:t>
          </a:r>
        </a:p>
        <a:p>
          <a:pPr marL="12700" lvl="0" indent="-1270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con copia della decisione impugnata </a:t>
          </a:r>
          <a:r>
            <a:rPr lang="it-IT" sz="1200" b="1" kern="1200" baseline="0" dirty="0">
              <a:solidFill>
                <a:srgbClr val="941100"/>
              </a:solidFill>
            </a:rPr>
            <a:t>solo</a:t>
          </a:r>
          <a:r>
            <a:rPr lang="it-IT" sz="1200" b="0" kern="1200" baseline="0" dirty="0">
              <a:solidFill>
                <a:srgbClr val="941100"/>
              </a:solidFill>
            </a:rPr>
            <a:t> se il ricorrente principale non abbia ottemperato (</a:t>
          </a:r>
          <a:r>
            <a:rPr lang="it-IT" sz="1200" b="0" u="sng" kern="1200" baseline="0" dirty="0">
              <a:solidFill>
                <a:srgbClr val="941100"/>
              </a:solidFill>
            </a:rPr>
            <a:t>comma immutato</a:t>
          </a:r>
          <a:r>
            <a:rPr lang="it-IT" sz="1200" b="0" kern="1200" baseline="0" dirty="0">
              <a:solidFill>
                <a:srgbClr val="941100"/>
              </a:solidFill>
            </a:rPr>
            <a:t>)</a:t>
          </a:r>
        </a:p>
      </dsp:txBody>
      <dsp:txXfrm>
        <a:off x="2618153" y="3737460"/>
        <a:ext cx="3759655" cy="1851660"/>
      </dsp:txXfrm>
    </dsp:sp>
    <dsp:sp modelId="{E5F18383-2709-A841-8867-14C3FFEEE035}">
      <dsp:nvSpPr>
        <dsp:cNvPr id="0" name=""/>
        <dsp:cNvSpPr/>
      </dsp:nvSpPr>
      <dsp:spPr>
        <a:xfrm>
          <a:off x="1418969" y="3423448"/>
          <a:ext cx="1434946" cy="1434940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8B458B-F0F1-DB47-85D0-F7DD418C76B2}">
      <dsp:nvSpPr>
        <dsp:cNvPr id="0" name=""/>
        <dsp:cNvSpPr/>
      </dsp:nvSpPr>
      <dsp:spPr>
        <a:xfrm>
          <a:off x="3118931" y="2334686"/>
          <a:ext cx="3372798" cy="1223997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008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in PC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entro 40 gg. «</a:t>
          </a:r>
          <a:r>
            <a:rPr lang="it-IT" sz="1200" b="0" i="1" kern="1200" dirty="0">
              <a:solidFill>
                <a:srgbClr val="941100"/>
              </a:solidFill>
            </a:rPr>
            <a:t>dalla notificazione del ricorso</a:t>
          </a:r>
          <a:r>
            <a:rPr lang="it-IT" sz="1200" b="0" kern="1200" dirty="0">
              <a:solidFill>
                <a:srgbClr val="941100"/>
              </a:solidFill>
            </a:rPr>
            <a:t>» (anche incidentale)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con atti, documenti e procura speciale</a:t>
          </a:r>
        </a:p>
      </dsp:txBody>
      <dsp:txXfrm>
        <a:off x="3178682" y="2394437"/>
        <a:ext cx="3253296" cy="1104495"/>
      </dsp:txXfrm>
    </dsp:sp>
    <dsp:sp modelId="{E6688BFD-6BC7-AD44-A438-3DEE0833A02D}">
      <dsp:nvSpPr>
        <dsp:cNvPr id="0" name=""/>
        <dsp:cNvSpPr/>
      </dsp:nvSpPr>
      <dsp:spPr>
        <a:xfrm>
          <a:off x="2315213" y="1927091"/>
          <a:ext cx="1434946" cy="1434940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A48F5-6912-954D-81EF-67DA47278EE8}">
      <dsp:nvSpPr>
        <dsp:cNvPr id="0" name=""/>
        <dsp:cNvSpPr/>
      </dsp:nvSpPr>
      <dsp:spPr>
        <a:xfrm>
          <a:off x="3986776" y="357661"/>
          <a:ext cx="2660545" cy="1908002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4008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in PC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entro 20 gg. dall’ultima notifica (con la </a:t>
          </a:r>
          <a:r>
            <a:rPr lang="it-IT" sz="1200" b="1" kern="1200" dirty="0">
              <a:solidFill>
                <a:srgbClr val="941100"/>
              </a:solidFill>
            </a:rPr>
            <a:t>prova</a:t>
          </a:r>
          <a:r>
            <a:rPr lang="it-IT" sz="1200" b="0" kern="1200" dirty="0">
              <a:solidFill>
                <a:srgbClr val="941100"/>
              </a:solidFill>
            </a:rPr>
            <a:t> dell’avvenuta notificazione)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senza istanza di trasmissione del fascicolo (III co. </a:t>
          </a:r>
          <a:r>
            <a:rPr lang="it-IT" sz="1200" b="1" kern="1200" dirty="0">
              <a:solidFill>
                <a:srgbClr val="941100"/>
              </a:solidFill>
            </a:rPr>
            <a:t>abrogato</a:t>
          </a:r>
          <a:r>
            <a:rPr lang="it-IT" sz="1200" b="0" kern="1200" dirty="0">
              <a:solidFill>
                <a:srgbClr val="941100"/>
              </a:solidFill>
            </a:rPr>
            <a:t>) </a:t>
          </a:r>
          <a:r>
            <a:rPr lang="it-IT" sz="1200" b="0" u="sng" kern="1200" dirty="0">
              <a:solidFill>
                <a:srgbClr val="941100"/>
              </a:solidFill>
            </a:rPr>
            <a:t>e senza le 7 copie</a:t>
          </a:r>
        </a:p>
      </dsp:txBody>
      <dsp:txXfrm>
        <a:off x="4079917" y="450802"/>
        <a:ext cx="2474263" cy="1721720"/>
      </dsp:txXfrm>
    </dsp:sp>
    <dsp:sp modelId="{E83022D8-BFFC-0C4D-9479-BA7FE8829A37}">
      <dsp:nvSpPr>
        <dsp:cNvPr id="0" name=""/>
        <dsp:cNvSpPr/>
      </dsp:nvSpPr>
      <dsp:spPr>
        <a:xfrm>
          <a:off x="2987911" y="570194"/>
          <a:ext cx="1366745" cy="1434940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B8A1F5-39DD-2C43-980E-A5E578D7F1E0}">
      <dsp:nvSpPr>
        <dsp:cNvPr id="0" name=""/>
        <dsp:cNvSpPr/>
      </dsp:nvSpPr>
      <dsp:spPr>
        <a:xfrm>
          <a:off x="55302" y="0"/>
          <a:ext cx="11551953" cy="1318227"/>
        </a:xfrm>
        <a:prstGeom prst="roundRect">
          <a:avLst/>
        </a:prstGeom>
        <a:solidFill>
          <a:srgbClr val="941100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b="1" kern="1200" dirty="0"/>
            <a:t>PROTOCOLLI (2015 SU REDAZIONE ATTI e 2020 SU DIGITALIZZAZIONE ATTI, oggi </a:t>
          </a:r>
          <a:r>
            <a:rPr lang="it-IT" sz="1800" b="1" u="sng" kern="1200" dirty="0"/>
            <a:t>sostituiti</a:t>
          </a:r>
          <a:r>
            <a:rPr lang="it-IT" sz="1800" b="1" kern="1200" dirty="0"/>
            <a:t> tutti dal Protocollo del 1° marzo 2023)</a:t>
          </a:r>
        </a:p>
      </dsp:txBody>
      <dsp:txXfrm>
        <a:off x="119653" y="64351"/>
        <a:ext cx="11423251" cy="1189525"/>
      </dsp:txXfrm>
    </dsp:sp>
    <dsp:sp modelId="{0FA89FD2-9563-A243-8D30-EDAD3E018FDE}">
      <dsp:nvSpPr>
        <dsp:cNvPr id="0" name=""/>
        <dsp:cNvSpPr/>
      </dsp:nvSpPr>
      <dsp:spPr>
        <a:xfrm>
          <a:off x="85562" y="1440163"/>
          <a:ext cx="11551953" cy="1293737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34290" rIns="68580" bIns="34290" numCol="1" spcCol="1270" anchor="ctr" anchorCtr="0">
          <a:noAutofit/>
        </a:bodyPr>
        <a:lstStyle/>
        <a:p>
          <a:pPr marL="0" lvl="0" indent="0" algn="just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800" b="1" kern="1200" dirty="0">
              <a:solidFill>
                <a:srgbClr val="941100"/>
              </a:solidFill>
            </a:rPr>
            <a:t>RELAZIONI TEMATICHE SUL PROCESSO CIVILE (N. 96/2022 SUL GIUDIZIO DI CASSAZIONE; N. 110/2022 SUL PROCESSO DI PRIMO E SECONDO GRADO; N. 8/2023 DI INTEGRAZIONE E SU DISCIPLINA TRANSITORIA), DISPOSIZIONI ORGANIZZATIVE/COMUNICATI DELLA PRIMA PRESIDENZA</a:t>
          </a:r>
        </a:p>
      </dsp:txBody>
      <dsp:txXfrm>
        <a:off x="148717" y="1503318"/>
        <a:ext cx="11425643" cy="1167427"/>
      </dsp:txXfrm>
    </dsp:sp>
    <dsp:sp modelId="{2A7826A3-0BD1-E649-A02A-F53CE46E1D89}">
      <dsp:nvSpPr>
        <dsp:cNvPr id="0" name=""/>
        <dsp:cNvSpPr/>
      </dsp:nvSpPr>
      <dsp:spPr>
        <a:xfrm>
          <a:off x="55302" y="2858256"/>
          <a:ext cx="11551953" cy="1318227"/>
        </a:xfrm>
        <a:prstGeom prst="roundRect">
          <a:avLst/>
        </a:prstGeom>
        <a:solidFill>
          <a:srgbClr val="941100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2000" b="1" kern="1200" dirty="0"/>
            <a:t>RELAZIONE TEMATICA SUL PCT (2021)</a:t>
          </a:r>
        </a:p>
      </dsp:txBody>
      <dsp:txXfrm>
        <a:off x="119653" y="2922607"/>
        <a:ext cx="11423251" cy="118952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41228" y="3806162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082688" y="3714310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1811803" y="3812618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2242D2F-616E-2F43-9845-48C3B2E5C10D}">
      <dsp:nvSpPr>
        <dsp:cNvPr id="0" name=""/>
        <dsp:cNvSpPr/>
      </dsp:nvSpPr>
      <dsp:spPr>
        <a:xfrm>
          <a:off x="3582495" y="2149131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DA4637C-E545-1043-8586-141EAFC2DA3D}">
      <dsp:nvSpPr>
        <dsp:cNvPr id="0" name=""/>
        <dsp:cNvSpPr/>
      </dsp:nvSpPr>
      <dsp:spPr>
        <a:xfrm>
          <a:off x="3478256" y="2402407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3404191" y="781826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3594839" y="709818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3785486" y="853834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3976134" y="853835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4166782" y="421786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3785486" y="781826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3785486" y="511310"/>
          <a:ext cx="137156" cy="13715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7B86B1-BE47-294C-8C41-C00A9B8C0B99}">
      <dsp:nvSpPr>
        <dsp:cNvPr id="0" name=""/>
        <dsp:cNvSpPr/>
      </dsp:nvSpPr>
      <dsp:spPr>
        <a:xfrm>
          <a:off x="2319037" y="3601447"/>
          <a:ext cx="3239994" cy="1620001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6209" tIns="45720" rIns="45720" bIns="45720" numCol="1" spcCol="1270" anchor="ctr" anchorCtr="0">
          <a:noAutofit/>
        </a:bodyPr>
        <a:lstStyle/>
        <a:p>
          <a:pPr marL="12700" lvl="0" indent="-1270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in PCT</a:t>
          </a:r>
        </a:p>
        <a:p>
          <a:pPr marL="12700" lvl="0" indent="-1270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</a:t>
          </a:r>
          <a:r>
            <a:rPr lang="it-IT" sz="1200" b="1" kern="1200" baseline="0" dirty="0">
              <a:solidFill>
                <a:srgbClr val="941100"/>
              </a:solidFill>
            </a:rPr>
            <a:t>del P.M.</a:t>
          </a:r>
          <a:r>
            <a:rPr lang="it-IT" sz="1200" b="0" kern="1200" baseline="0" dirty="0">
              <a:solidFill>
                <a:srgbClr val="941100"/>
              </a:solidFill>
            </a:rPr>
            <a:t>: 20 gg. prima (se adunanza camerale: «</a:t>
          </a:r>
          <a:r>
            <a:rPr lang="it-IT" sz="1200" b="0" i="1" kern="1200" baseline="0" dirty="0">
              <a:solidFill>
                <a:srgbClr val="941100"/>
              </a:solidFill>
            </a:rPr>
            <a:t>conclusioni scritte</a:t>
          </a:r>
          <a:r>
            <a:rPr lang="it-IT" sz="1200" b="0" kern="1200" baseline="0" dirty="0">
              <a:solidFill>
                <a:srgbClr val="941100"/>
              </a:solidFill>
            </a:rPr>
            <a:t>»)</a:t>
          </a:r>
        </a:p>
        <a:p>
          <a:pPr marL="12700" lvl="0" indent="-1270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</a:t>
          </a:r>
          <a:r>
            <a:rPr lang="it-IT" sz="1200" b="1" kern="1200" baseline="0" dirty="0">
              <a:solidFill>
                <a:srgbClr val="941100"/>
              </a:solidFill>
            </a:rPr>
            <a:t>delle Parti:</a:t>
          </a:r>
          <a:r>
            <a:rPr lang="it-IT" sz="1200" b="0" kern="1200" baseline="0" dirty="0">
              <a:solidFill>
                <a:srgbClr val="941100"/>
              </a:solidFill>
            </a:rPr>
            <a:t> 10 gg. prima</a:t>
          </a:r>
        </a:p>
        <a:p>
          <a:pPr marL="12700" lvl="0" indent="-1270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  <a:tabLst/>
          </a:pPr>
          <a:r>
            <a:rPr lang="it-IT" sz="1200" b="0" kern="1200" baseline="0" dirty="0">
              <a:solidFill>
                <a:srgbClr val="941100"/>
              </a:solidFill>
            </a:rPr>
            <a:t>- senza copie in carta libera (art. 140 disp. att.: </a:t>
          </a:r>
          <a:r>
            <a:rPr lang="it-IT" sz="1200" b="1" kern="1200" baseline="0" dirty="0">
              <a:solidFill>
                <a:srgbClr val="941100"/>
              </a:solidFill>
            </a:rPr>
            <a:t>abrogato</a:t>
          </a:r>
          <a:r>
            <a:rPr lang="it-IT" sz="1200" b="0" kern="1200" baseline="0" dirty="0">
              <a:solidFill>
                <a:srgbClr val="941100"/>
              </a:solidFill>
            </a:rPr>
            <a:t>)</a:t>
          </a:r>
          <a:endParaRPr lang="it-IT" sz="1200" b="0" kern="1200" dirty="0">
            <a:solidFill>
              <a:srgbClr val="941100"/>
            </a:solidFill>
          </a:endParaRPr>
        </a:p>
      </dsp:txBody>
      <dsp:txXfrm>
        <a:off x="2398119" y="3680529"/>
        <a:ext cx="3081830" cy="1461837"/>
      </dsp:txXfrm>
    </dsp:sp>
    <dsp:sp modelId="{E5F18383-2709-A841-8867-14C3FFEEE035}">
      <dsp:nvSpPr>
        <dsp:cNvPr id="0" name=""/>
        <dsp:cNvSpPr/>
      </dsp:nvSpPr>
      <dsp:spPr>
        <a:xfrm>
          <a:off x="1467870" y="3673456"/>
          <a:ext cx="1440006" cy="1440001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8B458B-F0F1-DB47-85D0-F7DD418C76B2}">
      <dsp:nvSpPr>
        <dsp:cNvPr id="0" name=""/>
        <dsp:cNvSpPr/>
      </dsp:nvSpPr>
      <dsp:spPr>
        <a:xfrm>
          <a:off x="3256826" y="1855090"/>
          <a:ext cx="2958466" cy="1676202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620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 </a:t>
          </a:r>
          <a:r>
            <a:rPr lang="it-IT" sz="1200" b="0" kern="1200" baseline="0" dirty="0">
              <a:solidFill>
                <a:srgbClr val="941100"/>
              </a:solidFill>
            </a:rPr>
            <a:t>- in PCT;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con atto </a:t>
          </a:r>
          <a:r>
            <a:rPr lang="it-IT" sz="1200" b="0" u="sng" kern="1200" baseline="0" dirty="0">
              <a:solidFill>
                <a:srgbClr val="941100"/>
              </a:solidFill>
            </a:rPr>
            <a:t>depositato</a:t>
          </a:r>
          <a:r>
            <a:rPr lang="it-IT" sz="1200" b="0" kern="1200" baseline="0" dirty="0">
              <a:solidFill>
                <a:srgbClr val="941100"/>
              </a:solidFill>
            </a:rPr>
            <a:t> </a:t>
          </a:r>
          <a:r>
            <a:rPr lang="it-IT" sz="1200" b="1" kern="1200" baseline="0" dirty="0">
              <a:solidFill>
                <a:srgbClr val="941100"/>
              </a:solidFill>
            </a:rPr>
            <a:t>prima</a:t>
          </a:r>
          <a:r>
            <a:rPr lang="it-IT" sz="1200" b="0" kern="1200" baseline="0" dirty="0">
              <a:solidFill>
                <a:srgbClr val="941100"/>
              </a:solidFill>
            </a:rPr>
            <a:t> dell’inizio della Relazione in P.U. ovvero </a:t>
          </a:r>
          <a:r>
            <a:rPr lang="it-IT" sz="1200" b="1" kern="1200" baseline="0" dirty="0">
              <a:solidFill>
                <a:srgbClr val="941100"/>
              </a:solidFill>
            </a:rPr>
            <a:t>prima</a:t>
          </a:r>
          <a:r>
            <a:rPr lang="it-IT" sz="1200" b="0" kern="1200" baseline="0" dirty="0">
              <a:solidFill>
                <a:srgbClr val="941100"/>
              </a:solidFill>
            </a:rPr>
            <a:t> dell’adunanza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</a:t>
          </a:r>
          <a:r>
            <a:rPr lang="it-IT" sz="1200" b="1" kern="1200" baseline="0" dirty="0">
              <a:solidFill>
                <a:srgbClr val="941100"/>
              </a:solidFill>
            </a:rPr>
            <a:t>comunicazione</a:t>
          </a:r>
          <a:r>
            <a:rPr lang="it-IT" sz="1200" b="0" kern="1200" baseline="0" dirty="0">
              <a:solidFill>
                <a:srgbClr val="941100"/>
              </a:solidFill>
            </a:rPr>
            <a:t> a cura della Cancelleria</a:t>
          </a:r>
          <a:r>
            <a:rPr lang="it-IT" sz="1100" b="0" kern="1200" baseline="0" dirty="0">
              <a:solidFill>
                <a:srgbClr val="941100"/>
              </a:solidFill>
            </a:rPr>
            <a:t> </a:t>
          </a:r>
          <a:endParaRPr lang="it-IT" sz="1100" b="0" kern="1200" dirty="0">
            <a:solidFill>
              <a:srgbClr val="941100"/>
            </a:solidFill>
          </a:endParaRPr>
        </a:p>
      </dsp:txBody>
      <dsp:txXfrm>
        <a:off x="3338651" y="1936915"/>
        <a:ext cx="2794816" cy="1512552"/>
      </dsp:txXfrm>
    </dsp:sp>
    <dsp:sp modelId="{E6688BFD-6BC7-AD44-A438-3DEE0833A02D}">
      <dsp:nvSpPr>
        <dsp:cNvPr id="0" name=""/>
        <dsp:cNvSpPr/>
      </dsp:nvSpPr>
      <dsp:spPr>
        <a:xfrm>
          <a:off x="2367274" y="1973109"/>
          <a:ext cx="1440006" cy="1440001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82A48F5-6912-954D-81EF-67DA47278EE8}">
      <dsp:nvSpPr>
        <dsp:cNvPr id="0" name=""/>
        <dsp:cNvSpPr/>
      </dsp:nvSpPr>
      <dsp:spPr>
        <a:xfrm>
          <a:off x="4104922" y="270907"/>
          <a:ext cx="2494342" cy="1475972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620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in PCT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entro 15 gg. prima dell’udienza o dell’adunanza camerale</a:t>
          </a:r>
        </a:p>
      </dsp:txBody>
      <dsp:txXfrm>
        <a:off x="4176973" y="342958"/>
        <a:ext cx="2350240" cy="1331870"/>
      </dsp:txXfrm>
    </dsp:sp>
    <dsp:sp modelId="{E83022D8-BFFC-0C4D-9479-BA7FE8829A37}">
      <dsp:nvSpPr>
        <dsp:cNvPr id="0" name=""/>
        <dsp:cNvSpPr/>
      </dsp:nvSpPr>
      <dsp:spPr>
        <a:xfrm>
          <a:off x="3008124" y="483071"/>
          <a:ext cx="1440006" cy="1440001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82464" y="265957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237368" y="289209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2064446" y="3093411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2271157" y="132941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2492445" y="1185397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2713070" y="96937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2933695" y="825355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3154982" y="96937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2713070" y="969373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2713070" y="82535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3F5E24-D13F-F141-92B1-13A5A888279B}">
      <dsp:nvSpPr>
        <dsp:cNvPr id="0" name=""/>
        <dsp:cNvSpPr/>
      </dsp:nvSpPr>
      <dsp:spPr>
        <a:xfrm>
          <a:off x="2254836" y="2898198"/>
          <a:ext cx="4000340" cy="2477614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  Deputata a risolvere:</a:t>
          </a:r>
          <a:endParaRPr lang="it-IT" sz="1200" b="0" kern="1200" baseline="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Inammissibilità o improcedibilità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Istanze di regolamento e competenza prive di particolare rilevanz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Correzione errori materiali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Revocazione e opposizione di terzo senza particolare rilevanz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Pronunzie </a:t>
          </a:r>
          <a:r>
            <a:rPr lang="it-IT" sz="1200" b="0" u="sng" kern="1200" baseline="0" dirty="0">
              <a:solidFill>
                <a:srgbClr val="941100"/>
              </a:solidFill>
            </a:rPr>
            <a:t>non</a:t>
          </a:r>
          <a:r>
            <a:rPr lang="it-IT" sz="1200" b="0" kern="1200" baseline="0" dirty="0">
              <a:solidFill>
                <a:srgbClr val="941100"/>
              </a:solidFill>
            </a:rPr>
            <a:t> in P.U. (</a:t>
          </a:r>
          <a:r>
            <a:rPr lang="it-IT" sz="1200" b="1" kern="1200" baseline="0" dirty="0">
              <a:solidFill>
                <a:srgbClr val="941100"/>
              </a:solidFill>
            </a:rPr>
            <a:t>norma di chiusura)</a:t>
          </a:r>
        </a:p>
      </dsp:txBody>
      <dsp:txXfrm>
        <a:off x="2375783" y="3019145"/>
        <a:ext cx="3758446" cy="2235720"/>
      </dsp:txXfrm>
    </dsp:sp>
    <dsp:sp modelId="{E6688BFD-6BC7-AD44-A438-3DEE0833A02D}">
      <dsp:nvSpPr>
        <dsp:cNvPr id="0" name=""/>
        <dsp:cNvSpPr/>
      </dsp:nvSpPr>
      <dsp:spPr>
        <a:xfrm>
          <a:off x="1676894" y="2483521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77071-8288-184C-B3B1-80513333E16D}">
      <dsp:nvSpPr>
        <dsp:cNvPr id="0" name=""/>
        <dsp:cNvSpPr/>
      </dsp:nvSpPr>
      <dsp:spPr>
        <a:xfrm>
          <a:off x="2922690" y="833087"/>
          <a:ext cx="3580619" cy="1742081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rgbClr val="941100"/>
              </a:solidFill>
            </a:rPr>
            <a:t>Riservata a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questioni di diritto di particolare rilevanz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revocazione per contrarietà alla CEDU (Art. 391 </a:t>
          </a:r>
          <a:r>
            <a:rPr lang="it-IT" sz="1200" b="0" i="1" kern="1200" dirty="0">
              <a:solidFill>
                <a:srgbClr val="941100"/>
              </a:solidFill>
            </a:rPr>
            <a:t>quater</a:t>
          </a:r>
          <a:r>
            <a:rPr lang="it-IT" sz="1200" b="0" kern="1200" dirty="0">
              <a:solidFill>
                <a:srgbClr val="941100"/>
              </a:solidFill>
            </a:rPr>
            <a:t>)</a:t>
          </a:r>
        </a:p>
      </dsp:txBody>
      <dsp:txXfrm>
        <a:off x="3007731" y="918128"/>
        <a:ext cx="3410537" cy="1571999"/>
      </dsp:txXfrm>
    </dsp:sp>
    <dsp:sp modelId="{E83022D8-BFFC-0C4D-9479-BA7FE8829A37}">
      <dsp:nvSpPr>
        <dsp:cNvPr id="0" name=""/>
        <dsp:cNvSpPr/>
      </dsp:nvSpPr>
      <dsp:spPr>
        <a:xfrm>
          <a:off x="2183520" y="688635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84518" y="2513975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239422" y="2746498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2066500" y="2947813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2273211" y="993161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2494499" y="705128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2715124" y="777135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2935749" y="561111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3157037" y="849145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2715124" y="705128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2715124" y="466539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3F5E24-D13F-F141-92B1-13A5A888279B}">
      <dsp:nvSpPr>
        <dsp:cNvPr id="0" name=""/>
        <dsp:cNvSpPr/>
      </dsp:nvSpPr>
      <dsp:spPr>
        <a:xfrm>
          <a:off x="2426883" y="2501929"/>
          <a:ext cx="4292456" cy="3060003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Il Primo Presidente:</a:t>
          </a:r>
          <a:endParaRPr lang="it-IT" sz="1200" b="0" kern="1200" baseline="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fissa udienza/adunanza e nomina il Relatore per i ricorsi assegnati alle SS.UU.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Il Presidente della Sezione:</a:t>
          </a:r>
          <a:endParaRPr lang="it-IT" sz="1200" b="0" kern="1200" baseline="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fissa udienza/adunanza e nomina il Relatore per i ricorsi assegnati alle SS.SS.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ENTRAMBI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dispongono eventuali integrazioni o rinnovi di notifica</a:t>
          </a:r>
        </a:p>
      </dsp:txBody>
      <dsp:txXfrm>
        <a:off x="2576260" y="2651306"/>
        <a:ext cx="3993702" cy="2761249"/>
      </dsp:txXfrm>
    </dsp:sp>
    <dsp:sp modelId="{E6688BFD-6BC7-AD44-A438-3DEE0833A02D}">
      <dsp:nvSpPr>
        <dsp:cNvPr id="0" name=""/>
        <dsp:cNvSpPr/>
      </dsp:nvSpPr>
      <dsp:spPr>
        <a:xfrm>
          <a:off x="1678948" y="2337923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77071-8288-184C-B3B1-80513333E16D}">
      <dsp:nvSpPr>
        <dsp:cNvPr id="0" name=""/>
        <dsp:cNvSpPr/>
      </dsp:nvSpPr>
      <dsp:spPr>
        <a:xfrm>
          <a:off x="3144197" y="441930"/>
          <a:ext cx="3572402" cy="1957652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rgbClr val="941100"/>
              </a:solidFill>
            </a:rPr>
            <a:t>Il Primo Presidente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assegna i ricorsi alle SS.UU. o alla S.S.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rgbClr val="941100"/>
              </a:solidFill>
            </a:rPr>
            <a:t>La Parte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fino a 15 gg. prima dell’udienza/adunanza può proporre istanza di rimessione alle SS.UU. (</a:t>
          </a:r>
          <a:r>
            <a:rPr lang="it-IT" sz="1200" b="1" kern="1200" dirty="0">
              <a:solidFill>
                <a:srgbClr val="941100"/>
              </a:solidFill>
            </a:rPr>
            <a:t>dopo: </a:t>
          </a:r>
          <a:r>
            <a:rPr lang="it-IT" sz="1200" b="0" kern="1200" dirty="0">
              <a:solidFill>
                <a:srgbClr val="941100"/>
              </a:solidFill>
            </a:rPr>
            <a:t>con ordinanza, solo d’ufficio o a richiesta del P.M.)</a:t>
          </a:r>
        </a:p>
      </dsp:txBody>
      <dsp:txXfrm>
        <a:off x="3239762" y="537495"/>
        <a:ext cx="3381272" cy="1766522"/>
      </dsp:txXfrm>
    </dsp:sp>
    <dsp:sp modelId="{E83022D8-BFFC-0C4D-9479-BA7FE8829A37}">
      <dsp:nvSpPr>
        <dsp:cNvPr id="0" name=""/>
        <dsp:cNvSpPr/>
      </dsp:nvSpPr>
      <dsp:spPr>
        <a:xfrm>
          <a:off x="2185574" y="369928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33897" y="2996576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182019" y="3239968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2001014" y="3450692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2217388" y="1698224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2449018" y="1482199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2679956" y="1338183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2910893" y="1410193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3142524" y="1482200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2657531" y="1482199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2679956" y="1482200"/>
          <a:ext cx="173376" cy="17337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3F5E24-D13F-F141-92B1-13A5A888279B}">
      <dsp:nvSpPr>
        <dsp:cNvPr id="0" name=""/>
        <dsp:cNvSpPr/>
      </dsp:nvSpPr>
      <dsp:spPr>
        <a:xfrm>
          <a:off x="2543691" y="3008877"/>
          <a:ext cx="4175654" cy="1231118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9150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La Cancelleria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comunica al P.M. e ai difensori la data dell’udienza almeno </a:t>
          </a:r>
          <a:r>
            <a:rPr lang="it-IT" sz="1200" b="1" u="sng" kern="1200" baseline="0" dirty="0">
              <a:solidFill>
                <a:srgbClr val="941100"/>
              </a:solidFill>
            </a:rPr>
            <a:t>60 gg. prima</a:t>
          </a:r>
        </a:p>
      </dsp:txBody>
      <dsp:txXfrm>
        <a:off x="2603789" y="3068975"/>
        <a:ext cx="4055458" cy="1110922"/>
      </dsp:txXfrm>
    </dsp:sp>
    <dsp:sp modelId="{E6688BFD-6BC7-AD44-A438-3DEE0833A02D}">
      <dsp:nvSpPr>
        <dsp:cNvPr id="0" name=""/>
        <dsp:cNvSpPr/>
      </dsp:nvSpPr>
      <dsp:spPr>
        <a:xfrm>
          <a:off x="1534770" y="2812295"/>
          <a:ext cx="1507299" cy="1507303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77071-8288-184C-B3B1-80513333E16D}">
      <dsp:nvSpPr>
        <dsp:cNvPr id="0" name=""/>
        <dsp:cNvSpPr/>
      </dsp:nvSpPr>
      <dsp:spPr>
        <a:xfrm>
          <a:off x="3171302" y="1032311"/>
          <a:ext cx="3739381" cy="1243746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91502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La Cancelleria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comunica al P.M. e ai difensori la data dell’udienza almeno </a:t>
          </a:r>
          <a:r>
            <a:rPr lang="it-IT" sz="1200" b="1" u="sng" kern="1200" baseline="0" dirty="0">
              <a:solidFill>
                <a:srgbClr val="941100"/>
              </a:solidFill>
            </a:rPr>
            <a:t>60 gg. prima</a:t>
          </a:r>
          <a:endParaRPr lang="it-IT" sz="1200" b="0" kern="1200" dirty="0">
            <a:solidFill>
              <a:srgbClr val="941100"/>
            </a:solidFill>
          </a:endParaRPr>
        </a:p>
      </dsp:txBody>
      <dsp:txXfrm>
        <a:off x="3232017" y="1093026"/>
        <a:ext cx="3617951" cy="1122316"/>
      </dsp:txXfrm>
    </dsp:sp>
    <dsp:sp modelId="{E83022D8-BFFC-0C4D-9479-BA7FE8829A37}">
      <dsp:nvSpPr>
        <dsp:cNvPr id="0" name=""/>
        <dsp:cNvSpPr/>
      </dsp:nvSpPr>
      <dsp:spPr>
        <a:xfrm>
          <a:off x="2125654" y="1056777"/>
          <a:ext cx="1507299" cy="1507303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77614" y="291897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232518" y="3151499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2059596" y="3352814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2266308" y="1545437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2487595" y="1329411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2708220" y="118539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2928845" y="1185395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3150133" y="578798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2708220" y="1401420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2708220" y="118539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3F5E24-D13F-F141-92B1-13A5A888279B}">
      <dsp:nvSpPr>
        <dsp:cNvPr id="0" name=""/>
        <dsp:cNvSpPr/>
      </dsp:nvSpPr>
      <dsp:spPr>
        <a:xfrm>
          <a:off x="2496053" y="3335769"/>
          <a:ext cx="4068001" cy="1440000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kern="1200" baseline="0" dirty="0">
              <a:solidFill>
                <a:srgbClr val="941100"/>
              </a:solidFill>
            </a:rPr>
            <a:t>- dopo la discussione e nella stessa seduta la Corte delibera la sentenza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kern="1200" baseline="0" dirty="0">
              <a:solidFill>
                <a:srgbClr val="941100"/>
              </a:solidFill>
            </a:rPr>
            <a:t>- la sentenza è depositata nei </a:t>
          </a:r>
          <a:r>
            <a:rPr lang="it-IT" sz="1400" b="1" kern="1200" baseline="0" dirty="0">
              <a:solidFill>
                <a:srgbClr val="941100"/>
              </a:solidFill>
            </a:rPr>
            <a:t>novanta</a:t>
          </a:r>
          <a:r>
            <a:rPr lang="it-IT" sz="1400" b="0" kern="1200" baseline="0" dirty="0">
              <a:solidFill>
                <a:srgbClr val="941100"/>
              </a:solidFill>
            </a:rPr>
            <a:t> giorni successivi</a:t>
          </a:r>
        </a:p>
      </dsp:txBody>
      <dsp:txXfrm>
        <a:off x="2566348" y="3406064"/>
        <a:ext cx="3927411" cy="1299410"/>
      </dsp:txXfrm>
    </dsp:sp>
    <dsp:sp modelId="{E6688BFD-6BC7-AD44-A438-3DEE0833A02D}">
      <dsp:nvSpPr>
        <dsp:cNvPr id="0" name=""/>
        <dsp:cNvSpPr/>
      </dsp:nvSpPr>
      <dsp:spPr>
        <a:xfrm>
          <a:off x="1672045" y="2742924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77071-8288-184C-B3B1-80513333E16D}">
      <dsp:nvSpPr>
        <dsp:cNvPr id="0" name=""/>
        <dsp:cNvSpPr/>
      </dsp:nvSpPr>
      <dsp:spPr>
        <a:xfrm>
          <a:off x="3047322" y="420943"/>
          <a:ext cx="3600017" cy="2519996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53340" rIns="53340" bIns="5334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1" kern="1200" dirty="0">
              <a:solidFill>
                <a:srgbClr val="941100"/>
              </a:solidFill>
            </a:rPr>
            <a:t>Il Presidente dirige la discussione indicando punti e tempi.  Quindi: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kern="1200" dirty="0">
              <a:solidFill>
                <a:srgbClr val="941100"/>
              </a:solidFill>
            </a:rPr>
            <a:t>- il Relatore espone </a:t>
          </a:r>
          <a:r>
            <a:rPr lang="it-IT" sz="1400" b="0" u="sng" kern="1200" dirty="0">
              <a:solidFill>
                <a:srgbClr val="941100"/>
              </a:solidFill>
            </a:rPr>
            <a:t>in sintesi </a:t>
          </a:r>
          <a:r>
            <a:rPr lang="it-IT" sz="1400" b="0" kern="1200" dirty="0">
              <a:solidFill>
                <a:srgbClr val="941100"/>
              </a:solidFill>
            </a:rPr>
            <a:t>le questioni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kern="1200" dirty="0">
              <a:solidFill>
                <a:srgbClr val="941100"/>
              </a:solidFill>
            </a:rPr>
            <a:t>- </a:t>
          </a:r>
          <a:r>
            <a:rPr lang="it-IT" sz="1400" b="0" kern="1200">
              <a:solidFill>
                <a:srgbClr val="941100"/>
              </a:solidFill>
            </a:rPr>
            <a:t>il P.M. </a:t>
          </a:r>
          <a:r>
            <a:rPr lang="it-IT" sz="1400" b="0" kern="1200" dirty="0">
              <a:solidFill>
                <a:srgbClr val="941100"/>
              </a:solidFill>
            </a:rPr>
            <a:t>(prima) espone le conclusioni motivate e i difensori delle Parti (poi) svolgono le difese</a:t>
          </a:r>
        </a:p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400" b="0" kern="1200" dirty="0">
              <a:solidFill>
                <a:srgbClr val="941100"/>
              </a:solidFill>
            </a:rPr>
            <a:t>- non sono ammesse repliche</a:t>
          </a:r>
        </a:p>
      </dsp:txBody>
      <dsp:txXfrm>
        <a:off x="3170338" y="543959"/>
        <a:ext cx="3353985" cy="2273964"/>
      </dsp:txXfrm>
    </dsp:sp>
    <dsp:sp modelId="{E83022D8-BFFC-0C4D-9479-BA7FE8829A37}">
      <dsp:nvSpPr>
        <dsp:cNvPr id="0" name=""/>
        <dsp:cNvSpPr/>
      </dsp:nvSpPr>
      <dsp:spPr>
        <a:xfrm>
          <a:off x="2178671" y="948039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C06B55A-818B-2944-BF8C-5A5469955F17}">
      <dsp:nvSpPr>
        <dsp:cNvPr id="0" name=""/>
        <dsp:cNvSpPr/>
      </dsp:nvSpPr>
      <dsp:spPr>
        <a:xfrm>
          <a:off x="3047303" y="379379"/>
          <a:ext cx="3600009" cy="4680001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55288" tIns="45720" rIns="45720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Il P.M.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può depositare conclusioni scritte </a:t>
          </a:r>
          <a:r>
            <a:rPr lang="it-IT" sz="1200" b="1" u="sng" kern="1200" dirty="0">
              <a:solidFill>
                <a:srgbClr val="941100"/>
              </a:solidFill>
            </a:rPr>
            <a:t>20 gg. prima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0" u="none" kern="120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Le Parti:</a:t>
          </a:r>
          <a:endParaRPr lang="it-IT" sz="1200" b="0" u="none" kern="120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</a:t>
          </a:r>
          <a:r>
            <a:rPr lang="it-IT" sz="1200" b="1" u="none" kern="1200" dirty="0">
              <a:solidFill>
                <a:srgbClr val="941100"/>
              </a:solidFill>
            </a:rPr>
            <a:t>sintetiche memorie </a:t>
          </a:r>
          <a:r>
            <a:rPr lang="it-IT" sz="1200" b="0" u="none" kern="1200" dirty="0">
              <a:solidFill>
                <a:srgbClr val="941100"/>
              </a:solidFill>
            </a:rPr>
            <a:t>illustrative </a:t>
          </a:r>
          <a:r>
            <a:rPr lang="it-IT" sz="1200" b="1" u="sng" kern="1200" dirty="0">
              <a:solidFill>
                <a:srgbClr val="941100"/>
              </a:solidFill>
            </a:rPr>
            <a:t>10 gg. prima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1" u="sng" kern="120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La Corte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deposita </a:t>
          </a:r>
          <a:r>
            <a:rPr lang="it-IT" sz="1200" b="1" u="none" kern="1200" dirty="0">
              <a:solidFill>
                <a:srgbClr val="941100"/>
              </a:solidFill>
            </a:rPr>
            <a:t>ordinanza</a:t>
          </a:r>
          <a:r>
            <a:rPr lang="it-IT" sz="1200" b="0" u="none" kern="1200" dirty="0">
              <a:solidFill>
                <a:srgbClr val="941100"/>
              </a:solidFill>
            </a:rPr>
            <a:t> </a:t>
          </a:r>
          <a:r>
            <a:rPr lang="it-IT" sz="1200" b="1" u="sng" kern="1200" dirty="0">
              <a:solidFill>
                <a:srgbClr val="941100"/>
              </a:solidFill>
            </a:rPr>
            <a:t>sinteticamente</a:t>
          </a:r>
          <a:r>
            <a:rPr lang="it-IT" sz="1200" b="0" u="none" kern="1200" dirty="0">
              <a:solidFill>
                <a:srgbClr val="941100"/>
              </a:solidFill>
            </a:rPr>
            <a:t> </a:t>
          </a:r>
          <a:r>
            <a:rPr lang="it-IT" sz="1200" b="1" u="none" kern="1200" dirty="0">
              <a:solidFill>
                <a:srgbClr val="941100"/>
              </a:solidFill>
            </a:rPr>
            <a:t>motivata</a:t>
          </a:r>
          <a:r>
            <a:rPr lang="it-IT" sz="1200" b="0" u="none" kern="1200" dirty="0">
              <a:solidFill>
                <a:srgbClr val="941100"/>
              </a:solidFill>
            </a:rPr>
            <a:t> al termine della camera di consiglio </a:t>
          </a:r>
          <a:r>
            <a:rPr lang="it-IT" sz="1200" b="1" u="sng" kern="1200" dirty="0">
              <a:solidFill>
                <a:srgbClr val="941100"/>
              </a:solidFill>
            </a:rPr>
            <a:t>o entro 60 gg.</a:t>
          </a:r>
        </a:p>
      </dsp:txBody>
      <dsp:txXfrm>
        <a:off x="3223041" y="555117"/>
        <a:ext cx="3248533" cy="4328525"/>
      </dsp:txXfrm>
    </dsp:sp>
    <dsp:sp modelId="{E83022D8-BFFC-0C4D-9479-BA7FE8829A37}">
      <dsp:nvSpPr>
        <dsp:cNvPr id="0" name=""/>
        <dsp:cNvSpPr/>
      </dsp:nvSpPr>
      <dsp:spPr>
        <a:xfrm>
          <a:off x="2156256" y="991198"/>
          <a:ext cx="1799998" cy="1799990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D7866EF-8568-E847-B684-73BEED9285B1}">
      <dsp:nvSpPr>
        <dsp:cNvPr id="0" name=""/>
        <dsp:cNvSpPr/>
      </dsp:nvSpPr>
      <dsp:spPr>
        <a:xfrm>
          <a:off x="3593924" y="192373"/>
          <a:ext cx="3131983" cy="5004005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5157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La Cancelleria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baseline="0" dirty="0">
              <a:solidFill>
                <a:srgbClr val="941100"/>
              </a:solidFill>
            </a:rPr>
            <a:t>- comunica al P.M. e ai difensori la data dell’adunanza almeno </a:t>
          </a:r>
          <a:r>
            <a:rPr lang="it-IT" sz="1200" b="1" u="sng" kern="1200" baseline="0" dirty="0">
              <a:solidFill>
                <a:srgbClr val="941100"/>
              </a:solidFill>
            </a:rPr>
            <a:t>60 gg. prim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1" u="none" kern="120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Il P.M.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può depositare conclusioni scritte </a:t>
          </a:r>
          <a:r>
            <a:rPr lang="it-IT" sz="1200" b="1" u="sng" kern="1200" dirty="0">
              <a:solidFill>
                <a:srgbClr val="941100"/>
              </a:solidFill>
            </a:rPr>
            <a:t>20 gg. prim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0" u="none" kern="120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Le Parti:</a:t>
          </a:r>
          <a:endParaRPr lang="it-IT" sz="1200" b="0" u="none" kern="120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</a:t>
          </a:r>
          <a:r>
            <a:rPr lang="it-IT" sz="1200" b="1" u="none" kern="1200" dirty="0">
              <a:solidFill>
                <a:srgbClr val="941100"/>
              </a:solidFill>
            </a:rPr>
            <a:t>sintetiche memorie </a:t>
          </a:r>
          <a:r>
            <a:rPr lang="it-IT" sz="1200" b="0" u="none" kern="1200" dirty="0">
              <a:solidFill>
                <a:srgbClr val="941100"/>
              </a:solidFill>
            </a:rPr>
            <a:t>illustrative </a:t>
          </a:r>
          <a:r>
            <a:rPr lang="it-IT" sz="1200" b="1" u="sng" kern="1200" dirty="0">
              <a:solidFill>
                <a:srgbClr val="941100"/>
              </a:solidFill>
            </a:rPr>
            <a:t>10 gg. prima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1" u="sng" kern="120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u="none" kern="1200" dirty="0">
              <a:solidFill>
                <a:srgbClr val="941100"/>
              </a:solidFill>
            </a:rPr>
            <a:t>La Corte: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u="none" kern="1200" dirty="0">
              <a:solidFill>
                <a:srgbClr val="941100"/>
              </a:solidFill>
            </a:rPr>
            <a:t>- deposita </a:t>
          </a:r>
          <a:r>
            <a:rPr lang="it-IT" sz="1200" b="1" u="none" kern="1200" dirty="0">
              <a:solidFill>
                <a:srgbClr val="941100"/>
              </a:solidFill>
            </a:rPr>
            <a:t>ordinanza</a:t>
          </a:r>
          <a:r>
            <a:rPr lang="it-IT" sz="1200" b="0" u="none" kern="1200" dirty="0">
              <a:solidFill>
                <a:srgbClr val="941100"/>
              </a:solidFill>
            </a:rPr>
            <a:t> </a:t>
          </a:r>
          <a:r>
            <a:rPr lang="it-IT" sz="1200" b="1" u="none" kern="1200" dirty="0">
              <a:solidFill>
                <a:srgbClr val="941100"/>
              </a:solidFill>
            </a:rPr>
            <a:t>sinteticamente</a:t>
          </a:r>
          <a:r>
            <a:rPr lang="it-IT" sz="1200" b="0" u="none" kern="1200" dirty="0">
              <a:solidFill>
                <a:srgbClr val="941100"/>
              </a:solidFill>
            </a:rPr>
            <a:t> </a:t>
          </a:r>
          <a:r>
            <a:rPr lang="it-IT" sz="1200" b="1" u="none" kern="1200" dirty="0">
              <a:solidFill>
                <a:srgbClr val="941100"/>
              </a:solidFill>
            </a:rPr>
            <a:t>motivata</a:t>
          </a:r>
          <a:r>
            <a:rPr lang="it-IT" sz="1200" b="0" u="none" kern="1200" dirty="0">
              <a:solidFill>
                <a:srgbClr val="941100"/>
              </a:solidFill>
            </a:rPr>
            <a:t> al termine della camera di consiglio </a:t>
          </a:r>
          <a:r>
            <a:rPr lang="it-IT" sz="1200" b="1" u="sng" kern="1200" dirty="0">
              <a:solidFill>
                <a:srgbClr val="941100"/>
              </a:solidFill>
            </a:rPr>
            <a:t>o entro 60 gg.</a:t>
          </a:r>
          <a:endParaRPr lang="it-IT" sz="1200" b="0" kern="1200" dirty="0">
            <a:solidFill>
              <a:srgbClr val="941100"/>
            </a:solidFill>
          </a:endParaRPr>
        </a:p>
      </dsp:txBody>
      <dsp:txXfrm>
        <a:off x="3746815" y="345264"/>
        <a:ext cx="2826201" cy="4698223"/>
      </dsp:txXfrm>
    </dsp:sp>
    <dsp:sp modelId="{E83022D8-BFFC-0C4D-9479-BA7FE8829A37}">
      <dsp:nvSpPr>
        <dsp:cNvPr id="0" name=""/>
        <dsp:cNvSpPr/>
      </dsp:nvSpPr>
      <dsp:spPr>
        <a:xfrm>
          <a:off x="2248282" y="414926"/>
          <a:ext cx="2002469" cy="2002908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BB7312-C93E-B547-8908-5EBDB8AF2CD3}">
      <dsp:nvSpPr>
        <dsp:cNvPr id="0" name=""/>
        <dsp:cNvSpPr/>
      </dsp:nvSpPr>
      <dsp:spPr>
        <a:xfrm>
          <a:off x="2346984" y="3869102"/>
          <a:ext cx="136888" cy="8499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4990D9-8209-7349-AF55-E51E75BDB965}">
      <dsp:nvSpPr>
        <dsp:cNvPr id="0" name=""/>
        <dsp:cNvSpPr/>
      </dsp:nvSpPr>
      <dsp:spPr>
        <a:xfrm>
          <a:off x="2187515" y="3716456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D391417-38E1-9D43-A395-27B18694A18D}">
      <dsp:nvSpPr>
        <dsp:cNvPr id="0" name=""/>
        <dsp:cNvSpPr/>
      </dsp:nvSpPr>
      <dsp:spPr>
        <a:xfrm>
          <a:off x="2014593" y="386047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1E57B03-9146-A34C-ADCA-CA576AC4C8F9}">
      <dsp:nvSpPr>
        <dsp:cNvPr id="0" name=""/>
        <dsp:cNvSpPr/>
      </dsp:nvSpPr>
      <dsp:spPr>
        <a:xfrm>
          <a:off x="2221304" y="1257403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D45E39-4EDC-5C46-8959-60113D8DFB72}">
      <dsp:nvSpPr>
        <dsp:cNvPr id="0" name=""/>
        <dsp:cNvSpPr/>
      </dsp:nvSpPr>
      <dsp:spPr>
        <a:xfrm>
          <a:off x="2442592" y="1041379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E20446-FD2F-E942-A5DB-3469BE499B02}">
      <dsp:nvSpPr>
        <dsp:cNvPr id="0" name=""/>
        <dsp:cNvSpPr/>
      </dsp:nvSpPr>
      <dsp:spPr>
        <a:xfrm>
          <a:off x="2663217" y="897364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31B1761-8DC1-9548-807B-721048F3AEA6}">
      <dsp:nvSpPr>
        <dsp:cNvPr id="0" name=""/>
        <dsp:cNvSpPr/>
      </dsp:nvSpPr>
      <dsp:spPr>
        <a:xfrm>
          <a:off x="2883842" y="897363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1131B47-C21C-7047-9FBD-99AA4AFF5416}">
      <dsp:nvSpPr>
        <dsp:cNvPr id="0" name=""/>
        <dsp:cNvSpPr/>
      </dsp:nvSpPr>
      <dsp:spPr>
        <a:xfrm>
          <a:off x="3105130" y="517922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E739D56-E020-7D44-A36C-EE2C74388332}">
      <dsp:nvSpPr>
        <dsp:cNvPr id="0" name=""/>
        <dsp:cNvSpPr/>
      </dsp:nvSpPr>
      <dsp:spPr>
        <a:xfrm>
          <a:off x="2663217" y="1041380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2FBE9BB-DF12-9F4E-8160-3CF338A7E931}">
      <dsp:nvSpPr>
        <dsp:cNvPr id="0" name=""/>
        <dsp:cNvSpPr/>
      </dsp:nvSpPr>
      <dsp:spPr>
        <a:xfrm>
          <a:off x="2663217" y="810664"/>
          <a:ext cx="165634" cy="1656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63F5E24-D13F-F141-92B1-13A5A888279B}">
      <dsp:nvSpPr>
        <dsp:cNvPr id="0" name=""/>
        <dsp:cNvSpPr/>
      </dsp:nvSpPr>
      <dsp:spPr>
        <a:xfrm>
          <a:off x="2398857" y="3306026"/>
          <a:ext cx="3968546" cy="1683504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baseline="0" dirty="0">
              <a:solidFill>
                <a:srgbClr val="941100"/>
              </a:solidFill>
            </a:rPr>
            <a:t>INTRODOTTA </a:t>
          </a:r>
          <a:r>
            <a:rPr lang="it-IT" sz="1200" b="0" kern="1200" baseline="0" dirty="0">
              <a:solidFill>
                <a:srgbClr val="941100"/>
              </a:solidFill>
            </a:rPr>
            <a:t>«</a:t>
          </a:r>
          <a:r>
            <a:rPr lang="it-IT" sz="1200" b="0" i="1" kern="1200" baseline="0" dirty="0">
              <a:solidFill>
                <a:srgbClr val="941100"/>
              </a:solidFill>
            </a:rPr>
            <a:t>nei casi di cui all’art. 391 quater c.p.c.</a:t>
          </a:r>
          <a:r>
            <a:rPr lang="it-IT" sz="1200" b="0" kern="1200" baseline="0" dirty="0">
              <a:solidFill>
                <a:srgbClr val="941100"/>
              </a:solidFill>
            </a:rPr>
            <a:t>» </a:t>
          </a:r>
          <a:r>
            <a:rPr lang="it-IT" sz="1200" b="1" kern="1200" baseline="0" dirty="0">
              <a:solidFill>
                <a:srgbClr val="941100"/>
              </a:solidFill>
            </a:rPr>
            <a:t>a decorrere dal 28 febbraio 2023</a:t>
          </a:r>
          <a:r>
            <a:rPr lang="it-IT" sz="1200" b="0" kern="1200" baseline="0" dirty="0">
              <a:solidFill>
                <a:srgbClr val="941100"/>
              </a:solidFill>
            </a:rPr>
            <a:t> e per i procedimenti instaurati successivamente a tale data</a:t>
          </a:r>
          <a:endParaRPr lang="it-IT" sz="1200" b="0" u="sng" kern="1200" baseline="0" dirty="0">
            <a:solidFill>
              <a:srgbClr val="941100"/>
            </a:solidFill>
          </a:endParaRPr>
        </a:p>
      </dsp:txBody>
      <dsp:txXfrm>
        <a:off x="2481039" y="3388208"/>
        <a:ext cx="3804182" cy="1519140"/>
      </dsp:txXfrm>
    </dsp:sp>
    <dsp:sp modelId="{E6688BFD-6BC7-AD44-A438-3DEE0833A02D}">
      <dsp:nvSpPr>
        <dsp:cNvPr id="0" name=""/>
        <dsp:cNvSpPr/>
      </dsp:nvSpPr>
      <dsp:spPr>
        <a:xfrm>
          <a:off x="1534766" y="3522223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C77071-8288-184C-B3B1-80513333E16D}">
      <dsp:nvSpPr>
        <dsp:cNvPr id="0" name=""/>
        <dsp:cNvSpPr/>
      </dsp:nvSpPr>
      <dsp:spPr>
        <a:xfrm>
          <a:off x="2830897" y="347720"/>
          <a:ext cx="3780030" cy="2652528"/>
        </a:xfrm>
        <a:prstGeom prst="roundRect">
          <a:avLst/>
        </a:prstGeom>
        <a:solidFill>
          <a:schemeClr val="bg1">
            <a:lumMod val="85000"/>
          </a:schemeClr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6159" tIns="45720" rIns="45720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rgbClr val="941100"/>
              </a:solidFill>
            </a:rPr>
            <a:t>CORREZIONE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d’Ufficio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con ricorso della Parte interessata avverso sentenze, ordinanze o decreti (di estinzione nel rito «accelerato»: art. 380 </a:t>
          </a:r>
          <a:r>
            <a:rPr lang="it-IT" sz="1200" b="0" i="1" kern="1200" dirty="0">
              <a:solidFill>
                <a:srgbClr val="941100"/>
              </a:solidFill>
            </a:rPr>
            <a:t>bis</a:t>
          </a:r>
          <a:r>
            <a:rPr lang="it-IT" sz="1200" b="0" kern="1200" dirty="0">
              <a:solidFill>
                <a:srgbClr val="941100"/>
              </a:solidFill>
            </a:rPr>
            <a:t>)</a:t>
          </a:r>
          <a:r>
            <a:rPr lang="it-IT" sz="1200" b="1" kern="1200" dirty="0">
              <a:solidFill>
                <a:srgbClr val="941100"/>
              </a:solidFill>
            </a:rPr>
            <a:t> in qualsiasi tempo</a:t>
          </a:r>
          <a:endParaRPr lang="it-IT" sz="1200" b="0" kern="1200" dirty="0">
            <a:solidFill>
              <a:srgbClr val="941100"/>
            </a:solidFill>
          </a:endParaRP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it-IT" sz="1200" b="0" kern="1200" dirty="0">
            <a:solidFill>
              <a:srgbClr val="941100"/>
            </a:solidFill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1" kern="1200" dirty="0">
              <a:solidFill>
                <a:srgbClr val="941100"/>
              </a:solidFill>
            </a:rPr>
            <a:t>REVOCAZIONE:</a:t>
          </a:r>
        </a:p>
        <a:p>
          <a:pPr marL="0" lvl="0" indent="0" algn="just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it-IT" sz="1200" b="0" kern="1200" dirty="0">
              <a:solidFill>
                <a:srgbClr val="941100"/>
              </a:solidFill>
            </a:rPr>
            <a:t>- come sopra a istanza di Parte, </a:t>
          </a:r>
          <a:r>
            <a:rPr lang="it-IT" sz="1200" b="1" u="sng" kern="1200" dirty="0">
              <a:solidFill>
                <a:srgbClr val="941100"/>
              </a:solidFill>
            </a:rPr>
            <a:t>MA</a:t>
          </a:r>
          <a:r>
            <a:rPr lang="it-IT" sz="1200" b="0" u="none" kern="1200" dirty="0">
              <a:solidFill>
                <a:srgbClr val="941100"/>
              </a:solidFill>
            </a:rPr>
            <a:t> nel termine di </a:t>
          </a:r>
          <a:r>
            <a:rPr lang="it-IT" sz="1200" b="1" u="none" kern="1200" dirty="0">
              <a:solidFill>
                <a:srgbClr val="941100"/>
              </a:solidFill>
            </a:rPr>
            <a:t>60 gg.</a:t>
          </a:r>
          <a:r>
            <a:rPr lang="it-IT" sz="1200" b="0" u="none" kern="1200" dirty="0">
              <a:solidFill>
                <a:srgbClr val="941100"/>
              </a:solidFill>
            </a:rPr>
            <a:t> dalla notificazione ovvero </a:t>
          </a:r>
          <a:r>
            <a:rPr lang="it-IT" sz="1200" b="1" u="none" kern="1200" dirty="0">
              <a:solidFill>
                <a:srgbClr val="941100"/>
              </a:solidFill>
            </a:rPr>
            <a:t>6 mesi</a:t>
          </a:r>
          <a:r>
            <a:rPr lang="it-IT" sz="1200" b="0" u="none" kern="1200" dirty="0">
              <a:solidFill>
                <a:srgbClr val="941100"/>
              </a:solidFill>
            </a:rPr>
            <a:t> dalla pubblicazione del provvedimento</a:t>
          </a:r>
        </a:p>
      </dsp:txBody>
      <dsp:txXfrm>
        <a:off x="2960383" y="477206"/>
        <a:ext cx="3521058" cy="2393556"/>
      </dsp:txXfrm>
    </dsp:sp>
    <dsp:sp modelId="{E83022D8-BFFC-0C4D-9479-BA7FE8829A37}">
      <dsp:nvSpPr>
        <dsp:cNvPr id="0" name=""/>
        <dsp:cNvSpPr/>
      </dsp:nvSpPr>
      <dsp:spPr>
        <a:xfrm>
          <a:off x="2133667" y="714053"/>
          <a:ext cx="1439992" cy="1439996"/>
        </a:xfrm>
        <a:prstGeom prst="ellipse">
          <a:avLst/>
        </a:prstGeom>
        <a:solidFill>
          <a:srgbClr val="941100"/>
        </a:solidFill>
        <a:ln w="127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AscendingPictureAccentProcess">
  <dgm:title val=""/>
  <dgm:desc val=""/>
  <dgm:catLst>
    <dgm:cat type="process" pri="22500"/>
    <dgm:cat type="picture" pri="16000"/>
    <dgm:cat type="pictureconvert" pri="1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func="var" arg="dir" op="equ" val="norm">
            <dgm:choose name="Name5">
              <dgm:if name="Name6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l" for="ch" forName="parTx1" refType="w" fact="0.2711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2469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7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l" for="ch" forName="parTx1" refType="w" fact="0.366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3333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if>
          <dgm:else name="Name8">
            <dgm:choose name="Name9">
              <dgm:if name="Name10" axis="des" func="maxDepth" op="gt" val="1">
                <dgm:alg type="composite">
                  <dgm:param type="ar" val="2.7"/>
                </dgm:alg>
                <dgm:constrLst>
                  <dgm:constr type="primFontSz" for="ch" forName="parTx1" op="equ" val="65"/>
                  <dgm:constr type="primFontSz" for="ch" forName="desTx1" op="equ" val="65"/>
                  <dgm:constr type="userD" refType="w" fact="0.0247"/>
                  <dgm:constr type="r" for="ch" forName="parTx1" refType="w" fact="0.7289"/>
                  <dgm:constr type="t" for="ch" forName="parTx1" refType="h" fact="0.9603"/>
                  <dgm:constr type="w" for="ch" forName="parTx1" refType="w" fact="0.5325"/>
                  <dgm:constr type="h" for="ch" forName="parTx1" refType="h" fact="0.3856"/>
                  <dgm:constr type="ctrX" for="ch" forName="picture1" refType="w" fact="0.7531"/>
                  <dgm:constr type="ctrY" for="ch" forName="picture1" refType="h" fact="0.9"/>
                  <dgm:constr type="w" for="ch" forName="picture1" refType="w" fact="0.2469"/>
                  <dgm:constr type="h" for="ch" forName="picture1" refType="h" fact="0.6667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</dgm:constrLst>
              </dgm:if>
              <dgm:else name="Name1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userD" refType="w" fact="0.0333"/>
                  <dgm:constr type="r" for="ch" forName="parTx1" refType="w" fact="0.634"/>
                  <dgm:constr type="t" for="ch" forName="parTx1" refType="h" fact="0.7113"/>
                  <dgm:constr type="w" for="ch" forName="parTx1" refType="w" fact="0.7189"/>
                  <dgm:constr type="h" for="ch" forName="parTx1" refType="h" fact="0.3856"/>
                  <dgm:constr type="ctrX" for="ch" forName="picture1" refType="w" fact="0.6667"/>
                  <dgm:constr type="ctrY" for="ch" forName="picture1" refType="h" fact="0.6667"/>
                  <dgm:constr type="w" for="ch" forName="picture1" refType="w" fact="0.3333"/>
                  <dgm:constr type="h" for="ch" forName="picture1" refType="h" fact="0.6667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func="var" arg="dir" op="equ" val="norm">
            <dgm:choose name="Name15">
              <dgm:if name="Name16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3221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3056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2859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309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334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359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3848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1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359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359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197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178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688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3503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17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4274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405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3794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4106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44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477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5106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44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477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477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l" for="ch" forName="parTx1" refType="w" fact="0.2614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2369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l" for="ch" forName="parTx2" refType="w" fact="0.4893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4648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if>
          <dgm:else name="Name18">
            <dgm:choose name="Name19">
              <dgm:if name="Name20" axis="des" func="maxDepth" op="gt" val="1">
                <dgm:alg type="composite">
                  <dgm:param type="ar" val="2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userD" refType="w" fact="0.0188"/>
                  <dgm:constr type="ctrX" for="ch" forName="dot1" refType="w" fact="0.6779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6944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7141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6905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6654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6403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6152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59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6403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6403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803"/>
                  <dgm:constr type="t" for="ch" forName="parTx1" refType="h" fact="0.8169"/>
                  <dgm:constr type="w" for="ch" forName="parTx1" refType="w" fact="0.4064"/>
                  <dgm:constr type="h" for="ch" forName="parTx1" refType="h" fact="0.218"/>
                  <dgm:constr type="ctrX" for="ch" forName="picture1" refType="w" fact="0.8215"/>
                  <dgm:constr type="ctrY" for="ch" forName="picture1" refType="h" fact="0.7834"/>
                  <dgm:constr type="w" for="ch" forName="picture1" refType="w" fact="0.1884"/>
                  <dgm:constr type="h" for="ch" forName="picture1" refType="h" fact="0.376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312"/>
                  <dgm:constr type="t" for="ch" forName="parTx2" refType="h" fact="0.3905"/>
                  <dgm:constr type="w" for="ch" forName="parTx2" refType="w" fact="0.4064"/>
                  <dgm:constr type="h" for="ch" forName="parTx2" refType="h" fact="0.218"/>
                  <dgm:constr type="ctrX" for="ch" forName="picture2" refType="w" fact="0.6497"/>
                  <dgm:constr type="ctrY" for="ch" forName="picture2" refType="h" fact="0.357"/>
                  <dgm:constr type="w" for="ch" forName="picture2" refType="w" fact="0.1884"/>
                  <dgm:constr type="h" for="ch" forName="picture2" refType="h" fact="0.376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</dgm:constrLst>
              </dgm:if>
              <dgm:else name="Name21">
                <dgm:alg type="composite">
                  <dgm:param type="ar" val="1.507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userD" refType="w" fact="0.025"/>
                  <dgm:constr type="ctrX" for="ch" forName="dot1" refType="w" fact="0.5726"/>
                  <dgm:constr type="ctrY" for="ch" forName="dot1" refType="h" fact="0.5911"/>
                  <dgm:constr type="w" for="ch" forName="dot1" refType="userD"/>
                  <dgm:constr type="h" for="ch" forName="dot1" refType="userD"/>
                  <dgm:constr type="ctrX" for="ch" forName="dot2" refType="w" fact="0.5945"/>
                  <dgm:constr type="ctrY" for="ch" forName="dot2" refType="h" fact="0.644"/>
                  <dgm:constr type="w" for="ch" forName="dot2" refType="userD"/>
                  <dgm:constr type="h" for="ch" forName="dot2" refType="userD"/>
                  <dgm:constr type="ctrX" for="ch" forName="dot3" refType="w" fact="0.6206"/>
                  <dgm:constr type="ctrY" for="ch" forName="dot3" refType="h" fact="0.6898"/>
                  <dgm:constr type="w" for="ch" forName="dot3" refType="userD"/>
                  <dgm:constr type="h" for="ch" forName="dot3" refType="userD"/>
                  <dgm:constr type="ctrX" for="ch" forName="dotArrow1" refType="w" fact="0.5894"/>
                  <dgm:constr type="ctrY" for="ch" forName="dotArrow1" refType="h" fact="0.0587"/>
                  <dgm:constr type="w" for="ch" forName="dotArrow1" refType="userD"/>
                  <dgm:constr type="h" for="ch" forName="dotArrow1" refType="userD"/>
                  <dgm:constr type="ctrX" for="ch" forName="dotArrow2" refType="w" fact="0.556"/>
                  <dgm:constr type="ctrY" for="ch" forName="dotArrow2" refType="h" fact="0.0287"/>
                  <dgm:constr type="w" for="ch" forName="dotArrow2" refType="userD"/>
                  <dgm:constr type="h" for="ch" forName="dotArrow2" refType="userD"/>
                  <dgm:constr type="ctrX" for="ch" forName="dotArrow3" refType="w" fact="0.5227"/>
                  <dgm:constr type="ctrY" for="ch" forName="dotArrow3" refType="h" fact="-0.0013"/>
                  <dgm:constr type="w" for="ch" forName="dotArrow3" refType="userD"/>
                  <dgm:constr type="h" for="ch" forName="dotArrow3" refType="userD"/>
                  <dgm:constr type="ctrX" for="ch" forName="dotArrow4" refType="w" fact="0.4894"/>
                  <dgm:constr type="ctrY" for="ch" forName="dotArrow4" refType="h" fact="0.0287"/>
                  <dgm:constr type="w" for="ch" forName="dotArrow4" refType="userD"/>
                  <dgm:constr type="h" for="ch" forName="dotArrow4" refType="userD"/>
                  <dgm:constr type="ctrX" for="ch" forName="dotArrow5" refType="w" fact="0.456"/>
                  <dgm:constr type="ctrY" for="ch" forName="dotArrow5" refType="h" fact="0.0587"/>
                  <dgm:constr type="w" for="ch" forName="dotArrow5" refType="userD"/>
                  <dgm:constr type="h" for="ch" forName="dotArrow5" refType="userD"/>
                  <dgm:constr type="ctrX" for="ch" forName="dotArrow6" refType="w" fact="0.5227"/>
                  <dgm:constr type="ctrY" for="ch" forName="dotArrow6" refType="h" fact="0.062"/>
                  <dgm:constr type="w" for="ch" forName="dotArrow6" refType="userD"/>
                  <dgm:constr type="h" for="ch" forName="dotArrow6" refType="userD"/>
                  <dgm:constr type="ctrX" for="ch" forName="dotArrow7" refType="w" fact="0.5227"/>
                  <dgm:constr type="ctrY" for="ch" forName="dotArrow7" refType="h" fact="0.1253"/>
                  <dgm:constr type="w" for="ch" forName="dotArrow7" refType="userD"/>
                  <dgm:constr type="h" for="ch" forName="dotArrow7" refType="userD"/>
                  <dgm:constr type="r" for="ch" forName="parTx1" refType="w" fact="0.7386"/>
                  <dgm:constr type="t" for="ch" forName="parTx1" refType="h" fact="0.8086"/>
                  <dgm:constr type="w" for="ch" forName="parTx1" refType="w" fact="0.5392"/>
                  <dgm:constr type="h" for="ch" forName="parTx1" refType="h" fact="0.218"/>
                  <dgm:constr type="ctrX" for="ch" forName="picture1" refType="w" fact="0.7631"/>
                  <dgm:constr type="ctrY" for="ch" forName="picture1" refType="h" fact="0.7834"/>
                  <dgm:constr type="w" for="ch" forName="picture1" refType="w" fact="0.25"/>
                  <dgm:constr type="h" for="ch" forName="picture1" refType="h" fact="0.3768"/>
                  <dgm:constr type="r" for="ch" forName="parTx2" refType="w" fact="0.5107"/>
                  <dgm:constr type="t" for="ch" forName="parTx2" refType="h" fact="0.3822"/>
                  <dgm:constr type="w" for="ch" forName="parTx2" refType="w" fact="0.5392"/>
                  <dgm:constr type="h" for="ch" forName="parTx2" refType="h" fact="0.218"/>
                  <dgm:constr type="ctrX" for="ch" forName="picture2" refType="w" fact="0.5352"/>
                  <dgm:constr type="ctrY" for="ch" forName="picture2" refType="h" fact="0.357"/>
                  <dgm:constr type="w" for="ch" forName="picture2" refType="w" fact="0.25"/>
                  <dgm:constr type="h" for="ch" forName="picture2" refType="h" fact="0.3768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func="var" arg="dir" op="equ" val="norm">
            <dgm:choose name="Name25">
              <dgm:if name="Name26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2981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2676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357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44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323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23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6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68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491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513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68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68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487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1328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732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3573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4763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4604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27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3684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3307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2912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494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342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23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12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79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6068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6346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79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79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l" for="ch" forName="parTx1" refType="w" fact="0.1837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1641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l" for="ch" forName="parTx2" refType="w" fact="0.4612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4416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l" for="ch" forName="parTx3" refType="w" fact="0.5886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569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if>
          <dgm:else name="Name28">
            <dgm:choose name="Name29">
              <dgm:if name="Name30" axis="des" func="maxDepth" op="gt" val="1">
                <dgm:alg type="composite">
                  <dgm:param type="ar" val="1.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userD" refType="w" fact="0.0162"/>
                  <dgm:constr type="ctrX" for="ch" forName="dot1" refType="w" fact="0.7019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7324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643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5555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5677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5764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554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5315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509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4865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5315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5315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513"/>
                  <dgm:constr type="t" for="ch" forName="parTx1" refType="h" fact="0.8596"/>
                  <dgm:constr type="w" for="ch" forName="parTx1" refType="w" fact="0.3491"/>
                  <dgm:constr type="h" for="ch" forName="parTx1" refType="h" fact="0.1638"/>
                  <dgm:constr type="ctrX" for="ch" forName="picture1" refType="w" fact="0.8672"/>
                  <dgm:constr type="ctrY" for="ch" forName="picture1" refType="h" fact="0.8361"/>
                  <dgm:constr type="w" for="ch" forName="picture1" refType="w" fact="0.1618"/>
                  <dgm:constr type="h" for="ch" forName="picture1" refType="h" fact="0.2832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268"/>
                  <dgm:constr type="t" for="ch" forName="parTx2" refType="h" fact="0.6469"/>
                  <dgm:constr type="w" for="ch" forName="parTx2" refType="w" fact="0.3491"/>
                  <dgm:constr type="h" for="ch" forName="parTx2" refType="h" fact="0.1638"/>
                  <dgm:constr type="ctrX" for="ch" forName="picture2" refType="w" fact="0.6427"/>
                  <dgm:constr type="ctrY" for="ch" forName="picture2" refType="h" fact="0.6234"/>
                  <dgm:constr type="w" for="ch" forName="picture2" refType="w" fact="0.1618"/>
                  <dgm:constr type="h" for="ch" forName="picture2" refType="h" fact="0.2832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5237"/>
                  <dgm:constr type="t" for="ch" forName="parTx3" refType="h" fact="0.3243"/>
                  <dgm:constr type="w" for="ch" forName="parTx3" refType="w" fact="0.3491"/>
                  <dgm:constr type="h" for="ch" forName="parTx3" refType="h" fact="0.1638"/>
                  <dgm:constr type="ctrX" for="ch" forName="picture3" refType="w" fact="0.5396"/>
                  <dgm:constr type="ctrY" for="ch" forName="picture3" refType="h" fact="0.3008"/>
                  <dgm:constr type="w" for="ch" forName="picture3" refType="w" fact="0.1618"/>
                  <dgm:constr type="h" for="ch" forName="picture3" refType="h" fact="0.2832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</dgm:constrLst>
              </dgm:if>
              <dgm:else name="Name31">
                <dgm:alg type="composite">
                  <dgm:param type="ar" val="1.416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userD" refType="w" fact="0.02"/>
                  <dgm:constr type="ctrX" for="ch" forName="dot1" refType="w" fact="0.6316"/>
                  <dgm:constr type="ctrY" for="ch" forName="dot1" refType="h" fact="0.763"/>
                  <dgm:constr type="w" for="ch" forName="dot1" refType="userD"/>
                  <dgm:constr type="h" for="ch" forName="dot1" refType="userD"/>
                  <dgm:constr type="ctrX" for="ch" forName="dot2" refType="w" fact="0.6693"/>
                  <dgm:constr type="ctrY" for="ch" forName="dot2" refType="h" fact="0.7887"/>
                  <dgm:constr type="w" for="ch" forName="dot2" refType="userD"/>
                  <dgm:constr type="h" for="ch" forName="dot2" refType="userD"/>
                  <dgm:constr type="ctrX" for="ch" forName="dot3" refType="w" fact="0.7088"/>
                  <dgm:constr type="ctrY" for="ch" forName="dot3" refType="h" fact="0.809"/>
                  <dgm:constr type="w" for="ch" forName="dot3" refType="userD"/>
                  <dgm:constr type="h" for="ch" forName="dot3" refType="userD"/>
                  <dgm:constr type="ctrX" for="ch" forName="dot4" refType="w" fact="0.4506"/>
                  <dgm:constr type="ctrY" for="ch" forName="dot4" refType="h" fact="0.4655"/>
                  <dgm:constr type="w" for="ch" forName="dot4" refType="userD"/>
                  <dgm:constr type="h" for="ch" forName="dot4" refType="userD"/>
                  <dgm:constr type="ctrX" for="ch" forName="dot5" refType="w" fact="0.4658"/>
                  <dgm:constr type="ctrY" for="ch" forName="dot5" refType="h" fact="0.5178"/>
                  <dgm:constr type="w" for="ch" forName="dot5" refType="userD"/>
                  <dgm:constr type="h" for="ch" forName="dot5" refType="userD"/>
                  <dgm:constr type="ctrX" for="ch" forName="dotArrow1" refType="w" fact="0.4766"/>
                  <dgm:constr type="ctrY" for="ch" forName="dotArrow1" refType="h" fact="0.0718"/>
                  <dgm:constr type="w" for="ch" forName="dotArrow1" refType="userD"/>
                  <dgm:constr type="h" for="ch" forName="dotArrow1" refType="userD"/>
                  <dgm:constr type="ctrX" for="ch" forName="dotArrow2" refType="w" fact="0.4488"/>
                  <dgm:constr type="ctrY" for="ch" forName="dotArrow2" refType="h" fact="0.0468"/>
                  <dgm:constr type="w" for="ch" forName="dotArrow2" refType="userD"/>
                  <dgm:constr type="h" for="ch" forName="dotArrow2" refType="userD"/>
                  <dgm:constr type="ctrX" for="ch" forName="dotArrow3" refType="w" fact="0.421"/>
                  <dgm:constr type="ctrY" for="ch" forName="dotArrow3" refType="h" fact="0.0218"/>
                  <dgm:constr type="w" for="ch" forName="dotArrow3" refType="userD"/>
                  <dgm:constr type="h" for="ch" forName="dotArrow3" refType="userD"/>
                  <dgm:constr type="ctrX" for="ch" forName="dotArrow4" refType="w" fact="0.3932"/>
                  <dgm:constr type="ctrY" for="ch" forName="dotArrow4" refType="h" fact="0.0468"/>
                  <dgm:constr type="w" for="ch" forName="dotArrow4" refType="userD"/>
                  <dgm:constr type="h" for="ch" forName="dotArrow4" refType="userD"/>
                  <dgm:constr type="ctrX" for="ch" forName="dotArrow5" refType="w" fact="0.3654"/>
                  <dgm:constr type="ctrY" for="ch" forName="dotArrow5" refType="h" fact="0.0718"/>
                  <dgm:constr type="w" for="ch" forName="dotArrow5" refType="userD"/>
                  <dgm:constr type="h" for="ch" forName="dotArrow5" refType="userD"/>
                  <dgm:constr type="ctrX" for="ch" forName="dotArrow6" refType="w" fact="0.421"/>
                  <dgm:constr type="ctrY" for="ch" forName="dotArrow6" refType="h" fact="0.0745"/>
                  <dgm:constr type="w" for="ch" forName="dotArrow6" refType="userD"/>
                  <dgm:constr type="h" for="ch" forName="dotArrow6" refType="userD"/>
                  <dgm:constr type="ctrX" for="ch" forName="dotArrow7" refType="w" fact="0.421"/>
                  <dgm:constr type="ctrY" for="ch" forName="dotArrow7" refType="h" fact="0.1273"/>
                  <dgm:constr type="w" for="ch" forName="dotArrow7" refType="userD"/>
                  <dgm:constr type="h" for="ch" forName="dotArrow7" refType="userD"/>
                  <dgm:constr type="r" for="ch" forName="parTx1" refType="w" fact="0.8163"/>
                  <dgm:constr type="t" for="ch" forName="parTx1" refType="h" fact="0.8551"/>
                  <dgm:constr type="w" for="ch" forName="parTx1" refType="w" fact="0.4314"/>
                  <dgm:constr type="h" for="ch" forName="parTx1" refType="h" fact="0.1638"/>
                  <dgm:constr type="ctrX" for="ch" forName="picture1" refType="w" fact="0.8359"/>
                  <dgm:constr type="ctrY" for="ch" forName="picture1" refType="h" fact="0.8361"/>
                  <dgm:constr type="w" for="ch" forName="picture1" refType="w" fact="0.2"/>
                  <dgm:constr type="h" for="ch" forName="picture1" refType="h" fact="0.2832"/>
                  <dgm:constr type="r" for="ch" forName="parTx2" refType="w" fact="0.5388"/>
                  <dgm:constr type="t" for="ch" forName="parTx2" refType="h" fact="0.6424"/>
                  <dgm:constr type="w" for="ch" forName="parTx2" refType="w" fact="0.4314"/>
                  <dgm:constr type="h" for="ch" forName="parTx2" refType="h" fact="0.1638"/>
                  <dgm:constr type="ctrX" for="ch" forName="picture2" refType="w" fact="0.5584"/>
                  <dgm:constr type="ctrY" for="ch" forName="picture2" refType="h" fact="0.6234"/>
                  <dgm:constr type="w" for="ch" forName="picture2" refType="w" fact="0.2"/>
                  <dgm:constr type="h" for="ch" forName="picture2" refType="h" fact="0.2832"/>
                  <dgm:constr type="r" for="ch" forName="parTx3" refType="w" fact="0.4114"/>
                  <dgm:constr type="t" for="ch" forName="parTx3" refType="h" fact="0.3198"/>
                  <dgm:constr type="w" for="ch" forName="parTx3" refType="w" fact="0.4314"/>
                  <dgm:constr type="h" for="ch" forName="parTx3" refType="h" fact="0.1638"/>
                  <dgm:constr type="ctrX" for="ch" forName="picture3" refType="w" fact="0.431"/>
                  <dgm:constr type="ctrY" for="ch" forName="picture3" refType="h" fact="0.3008"/>
                  <dgm:constr type="w" for="ch" forName="picture3" refType="w" fact="0.2"/>
                  <dgm:constr type="h" for="ch" forName="picture3" refType="h" fact="0.2832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func="var" arg="dir" op="equ" val="norm">
            <dgm:choose name="Name35">
              <dgm:if name="Name36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3253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2949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263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313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67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5486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5267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5462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565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5851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604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565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565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466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1333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10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3972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229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509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722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5588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37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3978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3606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3223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2829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717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6709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6441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6679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6917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715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739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6917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6917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l" for="ch" forName="parTx1" refType="w" fact="0.1793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163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l" for="ch" forName="parTx2" refType="w" fact="0.502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4857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l" for="ch" forName="parTx3" refType="w" fact="0.6394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6231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l" for="ch" forName="parTx4" refType="w" fact="0.6997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6834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if>
          <dgm:else name="Name38">
            <dgm:choose name="Name39">
              <dgm:if name="Name40" axis="des" func="maxDepth" op="gt" val="1">
                <dgm:alg type="composite">
                  <dgm:param type="ar" val="1.5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userD" refType="w" fact="0.0136"/>
                  <dgm:constr type="ctrX" for="ch" forName="dot1" refType="w" fact="0.6747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7051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7365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687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5325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4514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4733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4538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434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4149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3954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434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434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534"/>
                  <dgm:constr type="t" for="ch" forName="parTx1" refType="h" fact="0.9095"/>
                  <dgm:constr type="w" for="ch" forName="parTx1" refType="w" fact="0.294"/>
                  <dgm:constr type="h" for="ch" forName="parTx1" refType="h" fact="0.1222"/>
                  <dgm:constr type="ctrX" for="ch" forName="picture1" refType="w" fact="0.8667"/>
                  <dgm:constr type="ctrY" for="ch" forName="picture1" refType="h" fact="0.8922"/>
                  <dgm:constr type="w" for="ch" forName="picture1" refType="w" fact="0.1363"/>
                  <dgm:constr type="h" for="ch" forName="picture1" refType="h" fact="0.211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895"/>
                  <dgm:constr type="t" for="ch" forName="parTx2" refType="h" fact="0.762"/>
                  <dgm:constr type="w" for="ch" forName="parTx2" refType="w" fact="0.294"/>
                  <dgm:constr type="h" for="ch" forName="parTx2" refType="h" fact="0.1222"/>
                  <dgm:constr type="ctrX" for="ch" forName="picture2" refType="w" fact="0.6028"/>
                  <dgm:constr type="ctrY" for="ch" forName="picture2" refType="h" fact="0.7447"/>
                  <dgm:constr type="w" for="ch" forName="picture2" refType="w" fact="0.1363"/>
                  <dgm:constr type="h" for="ch" forName="picture2" refType="h" fact="0.211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771"/>
                  <dgm:constr type="t" for="ch" forName="parTx3" refType="h" fact="0.5294"/>
                  <dgm:constr type="w" for="ch" forName="parTx3" refType="w" fact="0.294"/>
                  <dgm:constr type="h" for="ch" forName="parTx3" refType="h" fact="0.1222"/>
                  <dgm:constr type="ctrX" for="ch" forName="picture3" refType="w" fact="0.4905"/>
                  <dgm:constr type="ctrY" for="ch" forName="picture3" refType="h" fact="0.5121"/>
                  <dgm:constr type="w" for="ch" forName="picture3" refType="w" fact="0.1363"/>
                  <dgm:constr type="h" for="ch" forName="picture3" refType="h" fact="0.211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278"/>
                  <dgm:constr type="t" for="ch" forName="parTx4" refType="h" fact="0.2523"/>
                  <dgm:constr type="w" for="ch" forName="parTx4" refType="w" fact="0.294"/>
                  <dgm:constr type="h" for="ch" forName="parTx4" refType="h" fact="0.1222"/>
                  <dgm:constr type="ctrX" for="ch" forName="picture4" refType="w" fact="0.4412"/>
                  <dgm:constr type="ctrY" for="ch" forName="picture4" refType="h" fact="0.235"/>
                  <dgm:constr type="w" for="ch" forName="picture4" refType="w" fact="0.1363"/>
                  <dgm:constr type="h" for="ch" forName="picture4" refType="h" fact="0.211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</dgm:constrLst>
              </dgm:if>
              <dgm:else name="Name41">
                <dgm:alg type="composite">
                  <dgm:param type="ar" val="1.267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userD" refType="w" fact="0.0167"/>
                  <dgm:constr type="ctrX" for="ch" forName="dot1" refType="w" fact="0.6022"/>
                  <dgm:constr type="ctrY" for="ch" forName="dot1" refType="h" fact="0.8215"/>
                  <dgm:constr type="w" for="ch" forName="dot1" refType="userD"/>
                  <dgm:constr type="h" for="ch" forName="dot1" refType="userD"/>
                  <dgm:constr type="ctrX" for="ch" forName="dot2" refType="w" fact="0.6394"/>
                  <dgm:constr type="ctrY" for="ch" forName="dot2" refType="h" fact="0.843"/>
                  <dgm:constr type="w" for="ch" forName="dot2" refType="userD"/>
                  <dgm:constr type="h" for="ch" forName="dot2" refType="userD"/>
                  <dgm:constr type="ctrX" for="ch" forName="dot3" refType="w" fact="0.6777"/>
                  <dgm:constr type="ctrY" for="ch" forName="dot3" refType="h" fact="0.8607"/>
                  <dgm:constr type="w" for="ch" forName="dot3" refType="userD"/>
                  <dgm:constr type="h" for="ch" forName="dot3" refType="userD"/>
                  <dgm:constr type="ctrX" for="ch" forName="dot4" refType="w" fact="0.7171"/>
                  <dgm:constr type="ctrY" for="ch" forName="dot4" refType="h" fact="0.8745"/>
                  <dgm:constr type="w" for="ch" forName="dot4" refType="userD"/>
                  <dgm:constr type="h" for="ch" forName="dot4" refType="userD"/>
                  <dgm:constr type="ctrX" for="ch" forName="dot5" refType="w" fact="0.4283"/>
                  <dgm:constr type="ctrY" for="ch" forName="dot5" refType="h" fact="0.6419"/>
                  <dgm:constr type="w" for="ch" forName="dot5" refType="userD"/>
                  <dgm:constr type="h" for="ch" forName="dot5" refType="userD"/>
                  <dgm:constr type="ctrX" for="ch" forName="dot6" refType="w" fact="0.3291"/>
                  <dgm:constr type="ctrY" for="ch" forName="dot6" refType="h" fact="0.3784"/>
                  <dgm:constr type="w" for="ch" forName="dot6" refType="userD"/>
                  <dgm:constr type="h" for="ch" forName="dot6" refType="userD"/>
                  <dgm:constr type="ctrX" for="ch" forName="dotArrow1" refType="w" fact="0.3559"/>
                  <dgm:constr type="ctrY" for="ch" forName="dotArrow1" refType="h" fact="0.0496"/>
                  <dgm:constr type="w" for="ch" forName="dotArrow1" refType="userD"/>
                  <dgm:constr type="h" for="ch" forName="dotArrow1" refType="userD"/>
                  <dgm:constr type="ctrX" for="ch" forName="dotArrow2" refType="w" fact="0.3321"/>
                  <dgm:constr type="ctrY" for="ch" forName="dotArrow2" refType="h" fact="0.0282"/>
                  <dgm:constr type="w" for="ch" forName="dotArrow2" refType="userD"/>
                  <dgm:constr type="h" for="ch" forName="dotArrow2" refType="userD"/>
                  <dgm:constr type="ctrX" for="ch" forName="dotArrow3" refType="w" fact="0.3083"/>
                  <dgm:constr type="ctrY" for="ch" forName="dotArrow3" refType="h" fact="0.0068"/>
                  <dgm:constr type="w" for="ch" forName="dotArrow3" refType="userD"/>
                  <dgm:constr type="h" for="ch" forName="dotArrow3" refType="userD"/>
                  <dgm:constr type="ctrX" for="ch" forName="dotArrow4" refType="w" fact="0.2845"/>
                  <dgm:constr type="ctrY" for="ch" forName="dotArrow4" refType="h" fact="0.0282"/>
                  <dgm:constr type="w" for="ch" forName="dotArrow4" refType="userD"/>
                  <dgm:constr type="h" for="ch" forName="dotArrow4" refType="userD"/>
                  <dgm:constr type="ctrX" for="ch" forName="dotArrow5" refType="w" fact="0.2606"/>
                  <dgm:constr type="ctrY" for="ch" forName="dotArrow5" refType="h" fact="0.0496"/>
                  <dgm:constr type="w" for="ch" forName="dotArrow5" refType="userD"/>
                  <dgm:constr type="h" for="ch" forName="dotArrow5" refType="userD"/>
                  <dgm:constr type="ctrX" for="ch" forName="dotArrow6" refType="w" fact="0.3083"/>
                  <dgm:constr type="ctrY" for="ch" forName="dotArrow6" refType="h" fact="0.052"/>
                  <dgm:constr type="w" for="ch" forName="dotArrow6" refType="userD"/>
                  <dgm:constr type="h" for="ch" forName="dotArrow6" refType="userD"/>
                  <dgm:constr type="ctrX" for="ch" forName="dotArrow7" refType="w" fact="0.3083"/>
                  <dgm:constr type="ctrY" for="ch" forName="dotArrow7" refType="h" fact="0.0972"/>
                  <dgm:constr type="w" for="ch" forName="dotArrow7" refType="userD"/>
                  <dgm:constr type="h" for="ch" forName="dotArrow7" refType="userD"/>
                  <dgm:constr type="r" for="ch" forName="parTx1" refType="w" fact="0.8207"/>
                  <dgm:constr type="t" for="ch" forName="parTx1" refType="h" fact="0.9064"/>
                  <dgm:constr type="w" for="ch" forName="parTx1" refType="w" fact="0.3595"/>
                  <dgm:constr type="h" for="ch" forName="parTx1" refType="h" fact="0.1222"/>
                  <dgm:constr type="ctrX" for="ch" forName="picture1" refType="w" fact="0.837"/>
                  <dgm:constr type="ctrY" for="ch" forName="picture1" refType="h" fact="0.8922"/>
                  <dgm:constr type="w" for="ch" forName="picture1" refType="w" fact="0.1667"/>
                  <dgm:constr type="h" for="ch" forName="picture1" refType="h" fact="0.2113"/>
                  <dgm:constr type="r" for="ch" forName="parTx2" refType="w" fact="0.498"/>
                  <dgm:constr type="t" for="ch" forName="parTx2" refType="h" fact="0.7589"/>
                  <dgm:constr type="w" for="ch" forName="parTx2" refType="w" fact="0.3595"/>
                  <dgm:constr type="h" for="ch" forName="parTx2" refType="h" fact="0.1222"/>
                  <dgm:constr type="ctrX" for="ch" forName="picture2" refType="w" fact="0.5143"/>
                  <dgm:constr type="ctrY" for="ch" forName="picture2" refType="h" fact="0.7447"/>
                  <dgm:constr type="w" for="ch" forName="picture2" refType="w" fact="0.1667"/>
                  <dgm:constr type="h" for="ch" forName="picture2" refType="h" fact="0.2113"/>
                  <dgm:constr type="r" for="ch" forName="parTx3" refType="w" fact="0.3606"/>
                  <dgm:constr type="t" for="ch" forName="parTx3" refType="h" fact="0.5263"/>
                  <dgm:constr type="w" for="ch" forName="parTx3" refType="w" fact="0.3595"/>
                  <dgm:constr type="h" for="ch" forName="parTx3" refType="h" fact="0.1222"/>
                  <dgm:constr type="ctrX" for="ch" forName="picture3" refType="w" fact="0.3769"/>
                  <dgm:constr type="ctrY" for="ch" forName="picture3" refType="h" fact="0.5121"/>
                  <dgm:constr type="w" for="ch" forName="picture3" refType="w" fact="0.1667"/>
                  <dgm:constr type="h" for="ch" forName="picture3" refType="h" fact="0.2113"/>
                  <dgm:constr type="r" for="ch" forName="parTx4" refType="w" fact="0.3003"/>
                  <dgm:constr type="t" for="ch" forName="parTx4" refType="h" fact="0.2492"/>
                  <dgm:constr type="w" for="ch" forName="parTx4" refType="w" fact="0.3595"/>
                  <dgm:constr type="h" for="ch" forName="parTx4" refType="h" fact="0.1222"/>
                  <dgm:constr type="ctrX" for="ch" forName="picture4" refType="w" fact="0.3166"/>
                  <dgm:constr type="ctrY" for="ch" forName="picture4" refType="h" fact="0.235"/>
                  <dgm:constr type="w" for="ch" forName="picture4" refType="w" fact="0.1667"/>
                  <dgm:constr type="h" for="ch" forName="picture4" refType="h" fact="0.2113"/>
                </dgm:constrLst>
              </dgm:else>
            </dgm:choose>
          </dgm:else>
        </dgm:choose>
      </dgm:if>
      <dgm:if name="Name42" axis="ch" ptType="node" func="cnt" op="equ" val="5">
        <dgm:choose name="Name43">
          <dgm:if name="Name44" func="var" arg="dir" op="equ" val="norm">
            <dgm:choose name="Name45">
              <dgm:if name="Name46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3263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001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2733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462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69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484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5549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601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577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5951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6123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629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6467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6123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6123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1746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1631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3982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3866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194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5078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827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5712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18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6064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47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3951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3634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331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2981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681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43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672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7278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6999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7207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741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7624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7832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741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741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l" for="ch" forName="parTx1" refType="w" fact="0.211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197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l" for="ch" forName="parTx2" refType="w" fact="0.4822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4682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l" for="ch" forName="parTx3" refType="w" fact="0.629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61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l" for="ch" forName="parTx4" refType="w" fact="0.7057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6917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l" for="ch" forName="parTx5" refType="w" fact="0.7484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7344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if>
          <dgm:else name="Name48">
            <dgm:choose name="Name49">
              <dgm:if name="Name50" axis="des" func="maxDepth" op="gt" val="1">
                <dgm:alg type="composite">
                  <dgm:param type="ar" val="1.41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userD" refType="w" fact="0.0118"/>
                  <dgm:constr type="ctrX" for="ch" forName="dot1" refType="w" fact="0.6737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999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7267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538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530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5516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4451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399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422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4049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3877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3705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3533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3877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3877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8254"/>
                  <dgm:constr type="t" for="ch" forName="parTx1" refType="h" fact="0.9304"/>
                  <dgm:constr type="w" for="ch" forName="parTx1" refType="w" fact="0.2544"/>
                  <dgm:constr type="h" for="ch" forName="parTx1" refType="h" fact="0.0962"/>
                  <dgm:constr type="ctrX" for="ch" forName="picture1" refType="w" fact="0.8369"/>
                  <dgm:constr type="ctrY" for="ch" forName="picture1" refType="h" fact="0.9169"/>
                  <dgm:constr type="w" for="ch" forName="picture1" refType="w" fact="0.118"/>
                  <dgm:constr type="h" for="ch" forName="picture1" refType="h" fact="0.166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6018"/>
                  <dgm:constr type="t" for="ch" forName="parTx2" refType="h" fact="0.8167"/>
                  <dgm:constr type="w" for="ch" forName="parTx2" refType="w" fact="0.2544"/>
                  <dgm:constr type="h" for="ch" forName="parTx2" refType="h" fact="0.0962"/>
                  <dgm:constr type="ctrX" for="ch" forName="picture2" refType="w" fact="0.6134"/>
                  <dgm:constr type="ctrY" for="ch" forName="picture2" refType="h" fact="0.8032"/>
                  <dgm:constr type="w" for="ch" forName="picture2" refType="w" fact="0.118"/>
                  <dgm:constr type="h" for="ch" forName="picture2" refType="h" fact="0.166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806"/>
                  <dgm:constr type="t" for="ch" forName="parTx3" refType="h" fact="0.6524"/>
                  <dgm:constr type="w" for="ch" forName="parTx3" refType="w" fact="0.2544"/>
                  <dgm:constr type="h" for="ch" forName="parTx3" refType="h" fact="0.0962"/>
                  <dgm:constr type="ctrX" for="ch" forName="picture3" refType="w" fact="0.4922"/>
                  <dgm:constr type="ctrY" for="ch" forName="picture3" refType="h" fact="0.6389"/>
                  <dgm:constr type="w" for="ch" forName="picture3" refType="w" fact="0.118"/>
                  <dgm:constr type="h" for="ch" forName="picture3" refType="h" fact="0.166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173"/>
                  <dgm:constr type="t" for="ch" forName="parTx4" refType="h" fact="0.4412"/>
                  <dgm:constr type="w" for="ch" forName="parTx4" refType="w" fact="0.2544"/>
                  <dgm:constr type="h" for="ch" forName="parTx4" refType="h" fact="0.0962"/>
                  <dgm:constr type="ctrX" for="ch" forName="picture4" refType="w" fact="0.4288"/>
                  <dgm:constr type="ctrY" for="ch" forName="picture4" refType="h" fact="0.4277"/>
                  <dgm:constr type="w" for="ch" forName="picture4" refType="w" fact="0.118"/>
                  <dgm:constr type="h" for="ch" forName="picture4" refType="h" fact="0.166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82"/>
                  <dgm:constr type="t" for="ch" forName="parTx5" refType="h" fact="0.2262"/>
                  <dgm:constr type="w" for="ch" forName="parTx5" refType="w" fact="0.2544"/>
                  <dgm:constr type="h" for="ch" forName="parTx5" refType="h" fact="0.0962"/>
                  <dgm:constr type="ctrX" for="ch" forName="picture5" refType="w" fact="0.3936"/>
                  <dgm:constr type="ctrY" for="ch" forName="picture5" refType="h" fact="0.2127"/>
                  <dgm:constr type="w" for="ch" forName="picture5" refType="w" fact="0.118"/>
                  <dgm:constr type="h" for="ch" forName="picture5" refType="h" fact="0.166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</dgm:constrLst>
              </dgm:if>
              <dgm:else name="Name51">
                <dgm:alg type="composite">
                  <dgm:param type="ar" val="1.164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userD" refType="w" fact="0.0143"/>
                  <dgm:constr type="ctrX" for="ch" forName="dot1" refType="w" fact="0.6049"/>
                  <dgm:constr type="ctrY" for="ch" forName="dot1" refType="h" fact="0.8674"/>
                  <dgm:constr type="w" for="ch" forName="dot1" refType="userD"/>
                  <dgm:constr type="h" for="ch" forName="dot1" refType="userD"/>
                  <dgm:constr type="ctrX" for="ch" forName="dot2" refType="w" fact="0.6366"/>
                  <dgm:constr type="ctrY" for="ch" forName="dot2" refType="h" fact="0.8824"/>
                  <dgm:constr type="w" for="ch" forName="dot2" refType="userD"/>
                  <dgm:constr type="h" for="ch" forName="dot2" refType="userD"/>
                  <dgm:constr type="ctrX" for="ch" forName="dot3" refType="w" fact="0.669"/>
                  <dgm:constr type="ctrY" for="ch" forName="dot3" refType="h" fact="0.8948"/>
                  <dgm:constr type="w" for="ch" forName="dot3" refType="userD"/>
                  <dgm:constr type="h" for="ch" forName="dot3" refType="userD"/>
                  <dgm:constr type="ctrX" for="ch" forName="dot4" refType="w" fact="0.7019"/>
                  <dgm:constr type="ctrY" for="ch" forName="dot4" refType="h" fact="0.9044"/>
                  <dgm:constr type="w" for="ch" forName="dot4" refType="userD"/>
                  <dgm:constr type="h" for="ch" forName="dot4" refType="userD"/>
                  <dgm:constr type="ctrX" for="ch" forName="dot5" refType="w" fact="0.4319"/>
                  <dgm:constr type="ctrY" for="ch" forName="dot5" refType="h" fact="0.7222"/>
                  <dgm:constr type="w" for="ch" forName="dot5" refType="userD"/>
                  <dgm:constr type="h" for="ch" forName="dot5" refType="userD"/>
                  <dgm:constr type="ctrX" for="ch" forName="dot6" refType="w" fact="0.457"/>
                  <dgm:constr type="ctrY" for="ch" forName="dot6" refType="h" fact="0.7518"/>
                  <dgm:constr type="w" for="ch" forName="dot6" refType="userD"/>
                  <dgm:constr type="h" for="ch" forName="dot6" refType="userD"/>
                  <dgm:constr type="ctrX" for="ch" forName="dot7" refType="w" fact="0.328"/>
                  <dgm:constr type="ctrY" for="ch" forName="dot7" refType="h" fact="0.5422"/>
                  <dgm:constr type="w" for="ch" forName="dot7" refType="userD"/>
                  <dgm:constr type="h" for="ch" forName="dot7" refType="userD"/>
                  <dgm:constr type="ctrX" for="ch" forName="dot8" refType="w" fact="0.2722"/>
                  <dgm:constr type="ctrY" for="ch" forName="dot8" refType="h" fact="0.3229"/>
                  <dgm:constr type="w" for="ch" forName="dot8" refType="userD"/>
                  <dgm:constr type="h" for="ch" forName="dot8" refType="userD"/>
                  <dgm:constr type="ctrX" for="ch" forName="dotArrow1" refType="w" fact="0.3001"/>
                  <dgm:constr type="ctrY" for="ch" forName="dotArrow1" refType="h" fact="0.0635"/>
                  <dgm:constr type="w" for="ch" forName="dotArrow1" refType="userD"/>
                  <dgm:constr type="h" for="ch" forName="dotArrow1" refType="userD"/>
                  <dgm:constr type="ctrX" for="ch" forName="dotArrow2" refType="w" fact="0.2793"/>
                  <dgm:constr type="ctrY" for="ch" forName="dotArrow2" refType="h" fact="0.0448"/>
                  <dgm:constr type="w" for="ch" forName="dotArrow2" refType="userD"/>
                  <dgm:constr type="h" for="ch" forName="dotArrow2" refType="userD"/>
                  <dgm:constr type="ctrX" for="ch" forName="dotArrow3" refType="w" fact="0.2585"/>
                  <dgm:constr type="ctrY" for="ch" forName="dotArrow3" refType="h" fact="0.026"/>
                  <dgm:constr type="w" for="ch" forName="dotArrow3" refType="userD"/>
                  <dgm:constr type="h" for="ch" forName="dotArrow3" refType="userD"/>
                  <dgm:constr type="ctrX" for="ch" forName="dotArrow4" refType="w" fact="0.2376"/>
                  <dgm:constr type="ctrY" for="ch" forName="dotArrow4" refType="h" fact="0.0448"/>
                  <dgm:constr type="w" for="ch" forName="dotArrow4" refType="userD"/>
                  <dgm:constr type="h" for="ch" forName="dotArrow4" refType="userD"/>
                  <dgm:constr type="ctrX" for="ch" forName="dotArrow5" refType="w" fact="0.2168"/>
                  <dgm:constr type="ctrY" for="ch" forName="dotArrow5" refType="h" fact="0.0635"/>
                  <dgm:constr type="w" for="ch" forName="dotArrow5" refType="userD"/>
                  <dgm:constr type="h" for="ch" forName="dotArrow5" refType="userD"/>
                  <dgm:constr type="ctrX" for="ch" forName="dotArrow6" refType="w" fact="0.2585"/>
                  <dgm:constr type="ctrY" for="ch" forName="dotArrow6" refType="h" fact="0.0656"/>
                  <dgm:constr type="w" for="ch" forName="dotArrow6" refType="userD"/>
                  <dgm:constr type="h" for="ch" forName="dotArrow6" refType="userD"/>
                  <dgm:constr type="ctrX" for="ch" forName="dotArrow7" refType="w" fact="0.2585"/>
                  <dgm:constr type="ctrY" for="ch" forName="dotArrow7" refType="h" fact="0.1052"/>
                  <dgm:constr type="w" for="ch" forName="dotArrow7" refType="userD"/>
                  <dgm:constr type="h" for="ch" forName="dotArrow7" refType="userD"/>
                  <dgm:constr type="r" for="ch" forName="parTx1" refType="w" fact="0.7885"/>
                  <dgm:constr type="t" for="ch" forName="parTx1" refType="h" fact="0.928"/>
                  <dgm:constr type="w" for="ch" forName="parTx1" refType="w" fact="0.3081"/>
                  <dgm:constr type="h" for="ch" forName="parTx1" refType="h" fact="0.0962"/>
                  <dgm:constr type="ctrX" for="ch" forName="picture1" refType="w" fact="0.8025"/>
                  <dgm:constr type="ctrY" for="ch" forName="picture1" refType="h" fact="0.9169"/>
                  <dgm:constr type="w" for="ch" forName="picture1" refType="w" fact="0.1429"/>
                  <dgm:constr type="h" for="ch" forName="picture1" refType="h" fact="0.1663"/>
                  <dgm:constr type="r" for="ch" forName="parTx2" refType="w" fact="0.5178"/>
                  <dgm:constr type="t" for="ch" forName="parTx2" refType="h" fact="0.8143"/>
                  <dgm:constr type="w" for="ch" forName="parTx2" refType="w" fact="0.3081"/>
                  <dgm:constr type="h" for="ch" forName="parTx2" refType="h" fact="0.0962"/>
                  <dgm:constr type="ctrX" for="ch" forName="picture2" refType="w" fact="0.5318"/>
                  <dgm:constr type="ctrY" for="ch" forName="picture2" refType="h" fact="0.8032"/>
                  <dgm:constr type="w" for="ch" forName="picture2" refType="w" fact="0.1429"/>
                  <dgm:constr type="h" for="ch" forName="picture2" refType="h" fact="0.1663"/>
                  <dgm:constr type="r" for="ch" forName="parTx3" refType="w" fact="0.371"/>
                  <dgm:constr type="t" for="ch" forName="parTx3" refType="h" fact="0.65"/>
                  <dgm:constr type="w" for="ch" forName="parTx3" refType="w" fact="0.3081"/>
                  <dgm:constr type="h" for="ch" forName="parTx3" refType="h" fact="0.0962"/>
                  <dgm:constr type="ctrX" for="ch" forName="picture3" refType="w" fact="0.385"/>
                  <dgm:constr type="ctrY" for="ch" forName="picture3" refType="h" fact="0.6389"/>
                  <dgm:constr type="w" for="ch" forName="picture3" refType="w" fact="0.1429"/>
                  <dgm:constr type="h" for="ch" forName="picture3" refType="h" fact="0.1663"/>
                  <dgm:constr type="r" for="ch" forName="parTx4" refType="w" fact="0.2943"/>
                  <dgm:constr type="t" for="ch" forName="parTx4" refType="h" fact="0.4388"/>
                  <dgm:constr type="w" for="ch" forName="parTx4" refType="w" fact="0.3081"/>
                  <dgm:constr type="h" for="ch" forName="parTx4" refType="h" fact="0.0962"/>
                  <dgm:constr type="ctrX" for="ch" forName="picture4" refType="w" fact="0.3083"/>
                  <dgm:constr type="ctrY" for="ch" forName="picture4" refType="h" fact="0.4277"/>
                  <dgm:constr type="w" for="ch" forName="picture4" refType="w" fact="0.1429"/>
                  <dgm:constr type="h" for="ch" forName="picture4" refType="h" fact="0.1663"/>
                  <dgm:constr type="r" for="ch" forName="parTx5" refType="w" fact="0.2516"/>
                  <dgm:constr type="t" for="ch" forName="parTx5" refType="h" fact="0.2238"/>
                  <dgm:constr type="w" for="ch" forName="parTx5" refType="w" fact="0.3081"/>
                  <dgm:constr type="h" for="ch" forName="parTx5" refType="h" fact="0.0962"/>
                  <dgm:constr type="ctrX" for="ch" forName="picture5" refType="w" fact="0.2656"/>
                  <dgm:constr type="ctrY" for="ch" forName="picture5" refType="h" fact="0.2127"/>
                  <dgm:constr type="w" for="ch" forName="picture5" refType="w" fact="0.1429"/>
                  <dgm:constr type="h" for="ch" forName="picture5" refType="h" fact="0.1663"/>
                </dgm:constrLst>
              </dgm:else>
            </dgm:choose>
          </dgm:else>
        </dgm:choose>
      </dgm:if>
      <dgm:if name="Name52" axis="ch" ptType="node" func="cnt" op="equ" val="6">
        <dgm:choose name="Name53">
          <dgm:if name="Name54" func="var" arg="dir" op="equ" val="norm">
            <dgm:choose name="Name55">
              <dgm:if name="Name56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3608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3384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15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2923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2688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883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69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5696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624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6509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6281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6437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6593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67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690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6593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6593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091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1988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273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4169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349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524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5998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5894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416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6313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644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6541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57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4276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401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3739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3464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3186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786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564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67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740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7714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7443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7628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7814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7999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818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7814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7814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l" for="ch" forName="parTx1" refType="w" fact="0.2479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2356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l" for="ch" forName="parTx2" refType="w" fact="0.5064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4941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l" for="ch" forName="parTx3" refType="w" fact="0.6339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6216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l" for="ch" forName="parTx4" refType="w" fact="0.7108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698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l" for="ch" forName="parTx5" refType="w" fact="0.7604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7481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l" for="ch" forName="parTx6" refType="w" fact="0.7874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7751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if>
          <dgm:else name="Name58">
            <dgm:choose name="Name59">
              <dgm:if name="Name60" axis="des" func="maxDepth" op="gt" val="1">
                <dgm:alg type="composite">
                  <dgm:param type="ar" val="1.3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userD" refType="w" fact="0.0105"/>
                  <dgm:constr type="ctrX" for="ch" forName="dot1" refType="w" fact="0.6392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6616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845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7077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7312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5117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5305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4304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3753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3491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3719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3563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340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325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3094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340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340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909"/>
                  <dgm:constr type="t" for="ch" forName="parTx1" refType="h" fact="0.9433"/>
                  <dgm:constr type="w" for="ch" forName="parTx1" refType="w" fact="0.2275"/>
                  <dgm:constr type="h" for="ch" forName="parTx1" refType="h" fact="0.0811"/>
                  <dgm:constr type="ctrX" for="ch" forName="picture1" refType="w" fact="0.8012"/>
                  <dgm:constr type="ctrY" for="ch" forName="picture1" refType="h" fact="0.9322"/>
                  <dgm:constr type="w" for="ch" forName="picture1" refType="w" fact="0.1055"/>
                  <dgm:constr type="h" for="ch" forName="picture1" refType="h" fact="0.1403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727"/>
                  <dgm:constr type="t" for="ch" forName="parTx2" refType="h" fact="0.8468"/>
                  <dgm:constr type="w" for="ch" forName="parTx2" refType="w" fact="0.2275"/>
                  <dgm:constr type="h" for="ch" forName="parTx2" refType="h" fact="0.0811"/>
                  <dgm:constr type="ctrX" for="ch" forName="picture2" refType="w" fact="0.5831"/>
                  <dgm:constr type="ctrY" for="ch" forName="picture2" refType="h" fact="0.8357"/>
                  <dgm:constr type="w" for="ch" forName="picture2" refType="w" fact="0.1055"/>
                  <dgm:constr type="h" for="ch" forName="picture2" refType="h" fact="0.1403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651"/>
                  <dgm:constr type="t" for="ch" forName="parTx3" refType="h" fact="0.7023"/>
                  <dgm:constr type="w" for="ch" forName="parTx3" refType="w" fact="0.2275"/>
                  <dgm:constr type="h" for="ch" forName="parTx3" refType="h" fact="0.0811"/>
                  <dgm:constr type="ctrX" for="ch" forName="picture3" refType="w" fact="0.4755"/>
                  <dgm:constr type="ctrY" for="ch" forName="picture3" refType="h" fact="0.6912"/>
                  <dgm:constr type="w" for="ch" forName="picture3" refType="w" fact="0.1055"/>
                  <dgm:constr type="h" for="ch" forName="picture3" refType="h" fact="0.1403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4002"/>
                  <dgm:constr type="t" for="ch" forName="parTx4" refType="h" fact="0.5441"/>
                  <dgm:constr type="w" for="ch" forName="parTx4" refType="w" fact="0.2275"/>
                  <dgm:constr type="h" for="ch" forName="parTx4" refType="h" fact="0.0811"/>
                  <dgm:constr type="ctrX" for="ch" forName="picture4" refType="w" fact="0.4106"/>
                  <dgm:constr type="ctrY" for="ch" forName="picture4" refType="h" fact="0.533"/>
                  <dgm:constr type="w" for="ch" forName="picture4" refType="w" fact="0.1055"/>
                  <dgm:constr type="h" for="ch" forName="picture4" refType="h" fact="0.1403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584"/>
                  <dgm:constr type="t" for="ch" forName="parTx5" refType="h" fact="0.3737"/>
                  <dgm:constr type="w" for="ch" forName="parTx5" refType="w" fact="0.2275"/>
                  <dgm:constr type="h" for="ch" forName="parTx5" refType="h" fact="0.0811"/>
                  <dgm:constr type="ctrX" for="ch" forName="picture5" refType="w" fact="0.3687"/>
                  <dgm:constr type="ctrY" for="ch" forName="picture5" refType="h" fact="0.3626"/>
                  <dgm:constr type="w" for="ch" forName="picture5" refType="w" fact="0.1055"/>
                  <dgm:constr type="h" for="ch" forName="picture5" refType="h" fact="0.1403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356"/>
                  <dgm:constr type="t" for="ch" forName="parTx6" refType="h" fact="0.2061"/>
                  <dgm:constr type="w" for="ch" forName="parTx6" refType="w" fact="0.2275"/>
                  <dgm:constr type="h" for="ch" forName="parTx6" refType="h" fact="0.0811"/>
                  <dgm:constr type="ctrX" for="ch" forName="picture6" refType="w" fact="0.3459"/>
                  <dgm:constr type="ctrY" for="ch" forName="picture6" refType="h" fact="0.195"/>
                  <dgm:constr type="w" for="ch" forName="picture6" refType="w" fact="0.1055"/>
                  <dgm:constr type="h" for="ch" forName="picture6" refType="h" fact="0.1403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</dgm:constrLst>
              </dgm:if>
              <dgm:else name="Name61">
                <dgm:alg type="composite">
                  <dgm:param type="ar" val="1.1223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userD" refType="w" fact="0.0125"/>
                  <dgm:constr type="ctrX" for="ch" forName="dot1" refType="w" fact="0.5724"/>
                  <dgm:constr type="ctrY" for="ch" forName="dot1" refType="h" fact="0.8839"/>
                  <dgm:constr type="w" for="ch" forName="dot1" refType="userD"/>
                  <dgm:constr type="h" for="ch" forName="dot1" refType="userD"/>
                  <dgm:constr type="ctrX" for="ch" forName="dot2" refType="w" fact="0.599"/>
                  <dgm:constr type="ctrY" for="ch" forName="dot2" refType="h" fact="0.8967"/>
                  <dgm:constr type="w" for="ch" forName="dot2" refType="userD"/>
                  <dgm:constr type="h" for="ch" forName="dot2" refType="userD"/>
                  <dgm:constr type="ctrX" for="ch" forName="dot3" refType="w" fact="0.6261"/>
                  <dgm:constr type="ctrY" for="ch" forName="dot3" refType="h" fact="0.9076"/>
                  <dgm:constr type="w" for="ch" forName="dot3" refType="userD"/>
                  <dgm:constr type="h" for="ch" forName="dot3" refType="userD"/>
                  <dgm:constr type="ctrX" for="ch" forName="dot4" refType="w" fact="0.6536"/>
                  <dgm:constr type="ctrY" for="ch" forName="dot4" refType="h" fact="0.9165"/>
                  <dgm:constr type="w" for="ch" forName="dot4" refType="userD"/>
                  <dgm:constr type="h" for="ch" forName="dot4" refType="userD"/>
                  <dgm:constr type="ctrX" for="ch" forName="dot5" refType="w" fact="0.6814"/>
                  <dgm:constr type="ctrY" for="ch" forName="dot5" refType="h" fact="0.9234"/>
                  <dgm:constr type="w" for="ch" forName="dot5" refType="userD"/>
                  <dgm:constr type="h" for="ch" forName="dot5" refType="userD"/>
                  <dgm:constr type="ctrX" for="ch" forName="dot6" refType="w" fact="0.4214"/>
                  <dgm:constr type="ctrY" for="ch" forName="dot6" refType="h" fact="0.764"/>
                  <dgm:constr type="w" for="ch" forName="dot6" refType="userD"/>
                  <dgm:constr type="h" for="ch" forName="dot6" refType="userD"/>
                  <dgm:constr type="ctrX" for="ch" forName="dot7" refType="w" fact="0.4436"/>
                  <dgm:constr type="ctrY" for="ch" forName="dot7" refType="h" fact="0.7878"/>
                  <dgm:constr type="w" for="ch" forName="dot7" refType="userD"/>
                  <dgm:constr type="h" for="ch" forName="dot7" refType="userD"/>
                  <dgm:constr type="ctrX" for="ch" forName="dot8" refType="w" fact="0.325"/>
                  <dgm:constr type="ctrY" for="ch" forName="dot8" refType="h" fact="0.6227"/>
                  <dgm:constr type="w" for="ch" forName="dot8" refType="userD"/>
                  <dgm:constr type="h" for="ch" forName="dot8" refType="userD"/>
                  <dgm:constr type="ctrX" for="ch" forName="dot9" refType="w" fact="0.2597"/>
                  <dgm:constr type="ctrY" for="ch" forName="dot9" refType="h" fact="0.4556"/>
                  <dgm:constr type="w" for="ch" forName="dot9" refType="userD"/>
                  <dgm:constr type="h" for="ch" forName="dot9" refType="userD"/>
                  <dgm:constr type="ctrX" for="ch" forName="dot10" refType="w" fact="0.2286"/>
                  <dgm:constr type="ctrY" for="ch" forName="dot10" refType="h" fact="0.2816"/>
                  <dgm:constr type="w" for="ch" forName="dot10" refType="userD"/>
                  <dgm:constr type="h" for="ch" forName="dot10" refType="userD"/>
                  <dgm:constr type="ctrX" for="ch" forName="dotArrow1" refType="w" fact="0.2557"/>
                  <dgm:constr type="ctrY" for="ch" forName="dotArrow1" refType="h" fact="0.0748"/>
                  <dgm:constr type="w" for="ch" forName="dotArrow1" refType="userD"/>
                  <dgm:constr type="h" for="ch" forName="dotArrow1" refType="userD"/>
                  <dgm:constr type="ctrX" for="ch" forName="dotArrow2" refType="w" fact="0.2372"/>
                  <dgm:constr type="ctrY" for="ch" forName="dotArrow2" refType="h" fact="0.0581"/>
                  <dgm:constr type="w" for="ch" forName="dotArrow2" refType="userD"/>
                  <dgm:constr type="h" for="ch" forName="dotArrow2" refType="userD"/>
                  <dgm:constr type="ctrX" for="ch" forName="dotArrow3" refType="w" fact="0.2187"/>
                  <dgm:constr type="ctrY" for="ch" forName="dotArrow3" refType="h" fact="0.0414"/>
                  <dgm:constr type="w" for="ch" forName="dotArrow3" refType="userD"/>
                  <dgm:constr type="h" for="ch" forName="dotArrow3" refType="userD"/>
                  <dgm:constr type="ctrX" for="ch" forName="dotArrow4" refType="w" fact="0.2001"/>
                  <dgm:constr type="ctrY" for="ch" forName="dotArrow4" refType="h" fact="0.0581"/>
                  <dgm:constr type="w" for="ch" forName="dotArrow4" refType="userD"/>
                  <dgm:constr type="h" for="ch" forName="dotArrow4" refType="userD"/>
                  <dgm:constr type="ctrX" for="ch" forName="dotArrow5" refType="w" fact="0.1816"/>
                  <dgm:constr type="ctrY" for="ch" forName="dotArrow5" refType="h" fact="0.0748"/>
                  <dgm:constr type="w" for="ch" forName="dotArrow5" refType="userD"/>
                  <dgm:constr type="h" for="ch" forName="dotArrow5" refType="userD"/>
                  <dgm:constr type="ctrX" for="ch" forName="dotArrow6" refType="w" fact="0.2187"/>
                  <dgm:constr type="ctrY" for="ch" forName="dotArrow6" refType="h" fact="0.0766"/>
                  <dgm:constr type="w" for="ch" forName="dotArrow6" refType="userD"/>
                  <dgm:constr type="h" for="ch" forName="dotArrow6" refType="userD"/>
                  <dgm:constr type="ctrX" for="ch" forName="dotArrow7" refType="w" fact="0.2187"/>
                  <dgm:constr type="ctrY" for="ch" forName="dotArrow7" refType="h" fact="0.1118"/>
                  <dgm:constr type="w" for="ch" forName="dotArrow7" refType="userD"/>
                  <dgm:constr type="h" for="ch" forName="dotArrow7" refType="userD"/>
                  <dgm:constr type="r" for="ch" forName="parTx1" refType="w" fact="0.7522"/>
                  <dgm:constr type="t" for="ch" forName="parTx1" refType="h" fact="0.9416"/>
                  <dgm:constr type="w" for="ch" forName="parTx1" refType="w" fact="0.2696"/>
                  <dgm:constr type="h" for="ch" forName="parTx1" refType="h" fact="0.0811"/>
                  <dgm:constr type="ctrX" for="ch" forName="picture1" refType="w" fact="0.7644"/>
                  <dgm:constr type="ctrY" for="ch" forName="picture1" refType="h" fact="0.9322"/>
                  <dgm:constr type="w" for="ch" forName="picture1" refType="w" fact="0.125"/>
                  <dgm:constr type="h" for="ch" forName="picture1" refType="h" fact="0.1403"/>
                  <dgm:constr type="r" for="ch" forName="parTx2" refType="w" fact="0.4937"/>
                  <dgm:constr type="t" for="ch" forName="parTx2" refType="h" fact="0.8451"/>
                  <dgm:constr type="w" for="ch" forName="parTx2" refType="w" fact="0.2696"/>
                  <dgm:constr type="h" for="ch" forName="parTx2" refType="h" fact="0.0811"/>
                  <dgm:constr type="ctrX" for="ch" forName="picture2" refType="w" fact="0.5059"/>
                  <dgm:constr type="ctrY" for="ch" forName="picture2" refType="h" fact="0.8357"/>
                  <dgm:constr type="w" for="ch" forName="picture2" refType="w" fact="0.125"/>
                  <dgm:constr type="h" for="ch" forName="picture2" refType="h" fact="0.1403"/>
                  <dgm:constr type="r" for="ch" forName="parTx3" refType="w" fact="0.3662"/>
                  <dgm:constr type="t" for="ch" forName="parTx3" refType="h" fact="0.7006"/>
                  <dgm:constr type="w" for="ch" forName="parTx3" refType="w" fact="0.2696"/>
                  <dgm:constr type="h" for="ch" forName="parTx3" refType="h" fact="0.0811"/>
                  <dgm:constr type="ctrX" for="ch" forName="picture3" refType="w" fact="0.3784"/>
                  <dgm:constr type="ctrY" for="ch" forName="picture3" refType="h" fact="0.6912"/>
                  <dgm:constr type="w" for="ch" forName="picture3" refType="w" fact="0.125"/>
                  <dgm:constr type="h" for="ch" forName="picture3" refType="h" fact="0.1403"/>
                  <dgm:constr type="r" for="ch" forName="parTx4" refType="w" fact="0.2893"/>
                  <dgm:constr type="t" for="ch" forName="parTx4" refType="h" fact="0.5424"/>
                  <dgm:constr type="w" for="ch" forName="parTx4" refType="w" fact="0.2696"/>
                  <dgm:constr type="h" for="ch" forName="parTx4" refType="h" fact="0.0811"/>
                  <dgm:constr type="ctrX" for="ch" forName="picture4" refType="w" fact="0.3015"/>
                  <dgm:constr type="ctrY" for="ch" forName="picture4" refType="h" fact="0.533"/>
                  <dgm:constr type="w" for="ch" forName="picture4" refType="w" fact="0.125"/>
                  <dgm:constr type="h" for="ch" forName="picture4" refType="h" fact="0.1403"/>
                  <dgm:constr type="r" for="ch" forName="parTx5" refType="w" fact="0.2397"/>
                  <dgm:constr type="t" for="ch" forName="parTx5" refType="h" fact="0.372"/>
                  <dgm:constr type="w" for="ch" forName="parTx5" refType="w" fact="0.2696"/>
                  <dgm:constr type="h" for="ch" forName="parTx5" refType="h" fact="0.0811"/>
                  <dgm:constr type="ctrX" for="ch" forName="picture5" refType="w" fact="0.2519"/>
                  <dgm:constr type="ctrY" for="ch" forName="picture5" refType="h" fact="0.3626"/>
                  <dgm:constr type="w" for="ch" forName="picture5" refType="w" fact="0.125"/>
                  <dgm:constr type="h" for="ch" forName="picture5" refType="h" fact="0.1403"/>
                  <dgm:constr type="r" for="ch" forName="parTx6" refType="w" fact="0.2127"/>
                  <dgm:constr type="t" for="ch" forName="parTx6" refType="h" fact="0.2044"/>
                  <dgm:constr type="w" for="ch" forName="parTx6" refType="w" fact="0.2696"/>
                  <dgm:constr type="h" for="ch" forName="parTx6" refType="h" fact="0.0811"/>
                  <dgm:constr type="ctrX" for="ch" forName="picture6" refType="w" fact="0.2249"/>
                  <dgm:constr type="ctrY" for="ch" forName="picture6" refType="h" fact="0.195"/>
                  <dgm:constr type="w" for="ch" forName="picture6" refType="w" fact="0.125"/>
                  <dgm:constr type="h" for="ch" forName="picture6" refType="h" fact="0.1403"/>
                </dgm:constrLst>
              </dgm:else>
            </dgm:choose>
          </dgm:else>
        </dgm:choose>
      </dgm:if>
      <dgm:else name="Name62">
        <dgm:choose name="Name63">
          <dgm:if name="Name64" func="var" arg="dir" op="equ" val="norm">
            <dgm:choose name="Name65">
              <dgm:if name="Name66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390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3721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353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337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142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088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926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583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6371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6701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6853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6627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6773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6919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706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7212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6919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6919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556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246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l" for="ch" forName="desTx1" refType="r" refFor="ch" refForName="parTx1"/>
                  <dgm:constr type="r" for="ch" forName="desTx1" refType="w"/>
                  <dgm:constr type="t" for="ch" forName="desTx1" refType="t" refFor="ch" refForName="parTx1"/>
                  <dgm:constr type="h" for="ch" forName="desTx1" refType="h" refFor="ch" refForName="parTx1"/>
                  <dgm:constr type="l" for="ch" forName="parTx2" refType="w" fact="0.453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4439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l" for="ch" forName="desTx2" refType="r" refFor="ch" refForName="parTx2"/>
                  <dgm:constr type="r" for="ch" forName="desTx2" refType="w"/>
                  <dgm:constr type="t" for="ch" forName="desTx2" refType="t" refFor="ch" refForName="parTx2"/>
                  <dgm:constr type="h" for="ch" forName="desTx2" refType="h" refFor="ch" refForName="parTx2"/>
                  <dgm:constr type="l" for="ch" forName="parTx3" refType="w" fact="0.5511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541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l" for="ch" forName="desTx3" refType="r" refFor="ch" refForName="parTx3"/>
                  <dgm:constr type="r" for="ch" forName="desTx3" refType="w"/>
                  <dgm:constr type="t" for="ch" forName="desTx3" refType="t" refFor="ch" refForName="parTx3"/>
                  <dgm:constr type="h" for="ch" forName="desTx3" refType="h" refFor="ch" refForName="parTx3"/>
                  <dgm:constr type="l" for="ch" forName="parTx4" refType="w" fact="0.6132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6037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l" for="ch" forName="desTx4" refType="r" refFor="ch" refForName="parTx4"/>
                  <dgm:constr type="r" for="ch" forName="desTx4" refType="w"/>
                  <dgm:constr type="t" for="ch" forName="desTx4" refType="t" refFor="ch" refForName="parTx4"/>
                  <dgm:constr type="h" for="ch" forName="desTx4" refType="h" refFor="ch" refForName="parTx4"/>
                  <dgm:constr type="l" for="ch" forName="parTx5" refType="w" fact="0.6576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648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l" for="ch" forName="desTx5" refType="r" refFor="ch" refForName="parTx5"/>
                  <dgm:constr type="r" for="ch" forName="desTx5" refType="w"/>
                  <dgm:constr type="t" for="ch" forName="desTx5" refType="t" refFor="ch" refForName="parTx5"/>
                  <dgm:constr type="h" for="ch" forName="desTx5" refType="h" refFor="ch" refForName="parTx5"/>
                  <dgm:constr type="l" for="ch" forName="parTx6" refType="w" fact="0.6828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6733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l" for="ch" forName="desTx6" refType="r" refFor="ch" refForName="parTx6"/>
                  <dgm:constr type="r" for="ch" forName="desTx6" refType="w"/>
                  <dgm:constr type="t" for="ch" forName="desTx6" refType="t" refFor="ch" refForName="parTx6"/>
                  <dgm:constr type="h" for="ch" forName="desTx6" refType="h" refFor="ch" refForName="parTx6"/>
                  <dgm:constr type="l" for="ch" forName="parTx7" refType="w" fact="0.6966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6871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l" for="ch" forName="desTx7" refType="r" refFor="ch" refForName="parTx7"/>
                  <dgm:constr type="r" for="ch" forName="desTx7" refType="w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67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4459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4244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4026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3806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3584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5803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618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6656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7266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7643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7816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7558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772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7892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8058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822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7892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7892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l" for="ch" forName="parTx1" refType="w" fact="0.291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2806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l" for="ch" forName="parTx2" refType="w" fact="0.5172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5063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l" for="ch" forName="parTx3" refType="w" fact="0.628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6176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l" for="ch" forName="parTx4" refType="w" fact="0.6994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688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l" for="ch" forName="parTx5" refType="w" fact="0.7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7391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l" for="ch" forName="parTx6" refType="w" fact="0.7788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7679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l" for="ch" forName="parTx7" refType="w" fact="0.794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7836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if>
          <dgm:else name="Name68">
            <dgm:choose name="Name69">
              <dgm:if name="Name70" axis="des" func="maxDepth" op="gt" val="1">
                <dgm:alg type="composite">
                  <dgm:param type="ar" val="1.25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primFontSz" for="ch" forName="desTx1" op="equ" val="65"/>
                  <dgm:constr type="primFontSz" for="ch" forName="desTx2" refType="primFontSz" refFor="ch" refForName="desTx1" op="equ"/>
                  <dgm:constr type="primFontSz" for="ch" forName="desTx3" refType="primFontSz" refFor="ch" refForName="desTx1" op="equ"/>
                  <dgm:constr type="primFontSz" for="ch" forName="desTx4" refType="primFontSz" refFor="ch" refForName="desTx1" op="equ"/>
                  <dgm:constr type="primFontSz" for="ch" forName="desTx5" refType="primFontSz" refFor="ch" refForName="desTx1" op="equ"/>
                  <dgm:constr type="primFontSz" for="ch" forName="desTx6" refType="primFontSz" refFor="ch" refForName="desTx1" op="equ"/>
                  <dgm:constr type="primFontSz" for="ch" forName="desTx7" refType="primFontSz" refFor="ch" refForName="desTx1" op="equ"/>
                  <dgm:constr type="userD" refType="w" fact="0.0097"/>
                  <dgm:constr type="ctrX" for="ch" forName="dot1" refType="w" fact="0.609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6279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647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663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858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912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5074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416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3629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3299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3147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3373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3227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3081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2935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2788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3081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3081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444"/>
                  <dgm:constr type="t" for="ch" forName="parTx1" refType="h" fact="0.8856"/>
                  <dgm:constr type="w" for="ch" forName="parTx1" refType="w" fact="0.2101"/>
                  <dgm:constr type="h" for="ch" forName="parTx1" refType="h" fact="0.0704"/>
                  <dgm:constr type="ctrX" for="ch" forName="picture1" refType="w" fact="0.754"/>
                  <dgm:constr type="ctrY" for="ch" forName="picture1" refType="h" fact="0.8769"/>
                  <dgm:constr type="w" for="ch" forName="picture1" refType="w" fact="0.0974"/>
                  <dgm:constr type="h" for="ch" forName="picture1" refType="h" fact="0.1218"/>
                  <dgm:constr type="r" for="ch" forName="desTx1" refType="l" refFor="ch" refForName="parTx1"/>
                  <dgm:constr type="l" for="ch" forName="desTx1"/>
                  <dgm:constr type="t" for="ch" forName="desTx1" refType="t" refFor="ch" refForName="parTx1"/>
                  <dgm:constr type="h" for="ch" forName="desTx1" refType="h" refFor="ch" refForName="parTx1"/>
                  <dgm:constr type="r" for="ch" forName="parTx2" refType="w" fact="0.5465"/>
                  <dgm:constr type="t" for="ch" forName="parTx2" refType="h" fact="0.7956"/>
                  <dgm:constr type="w" for="ch" forName="parTx2" refType="w" fact="0.2101"/>
                  <dgm:constr type="h" for="ch" forName="parTx2" refType="h" fact="0.0704"/>
                  <dgm:constr type="ctrX" for="ch" forName="picture2" refType="w" fact="0.5561"/>
                  <dgm:constr type="ctrY" for="ch" forName="picture2" refType="h" fact="0.787"/>
                  <dgm:constr type="w" for="ch" forName="picture2" refType="w" fact="0.0974"/>
                  <dgm:constr type="h" for="ch" forName="picture2" refType="h" fact="0.1218"/>
                  <dgm:constr type="r" for="ch" forName="desTx2" refType="l" refFor="ch" refForName="parTx2"/>
                  <dgm:constr type="l" for="ch" forName="desTx2"/>
                  <dgm:constr type="t" for="ch" forName="desTx2" refType="t" refFor="ch" refForName="parTx2"/>
                  <dgm:constr type="h" for="ch" forName="desTx2" refType="h" refFor="ch" refForName="parTx2"/>
                  <dgm:constr type="r" for="ch" forName="parTx3" refType="w" fact="0.4489"/>
                  <dgm:constr type="t" for="ch" forName="parTx3" refType="h" fact="0.673"/>
                  <dgm:constr type="w" for="ch" forName="parTx3" refType="w" fact="0.2101"/>
                  <dgm:constr type="h" for="ch" forName="parTx3" refType="h" fact="0.0704"/>
                  <dgm:constr type="ctrX" for="ch" forName="picture3" refType="w" fact="0.4585"/>
                  <dgm:constr type="ctrY" for="ch" forName="picture3" refType="h" fact="0.6644"/>
                  <dgm:constr type="w" for="ch" forName="picture3" refType="w" fact="0.0974"/>
                  <dgm:constr type="h" for="ch" forName="picture3" refType="h" fact="0.1218"/>
                  <dgm:constr type="r" for="ch" forName="desTx3" refType="l" refFor="ch" refForName="parTx3"/>
                  <dgm:constr type="l" for="ch" forName="desTx3"/>
                  <dgm:constr type="t" for="ch" forName="desTx3" refType="t" refFor="ch" refForName="parTx3"/>
                  <dgm:constr type="h" for="ch" forName="desTx3" refType="h" refFor="ch" refForName="parTx3"/>
                  <dgm:constr type="r" for="ch" forName="parTx4" refType="w" fact="0.3868"/>
                  <dgm:constr type="t" for="ch" forName="parTx4" refType="h" fact="0.538"/>
                  <dgm:constr type="w" for="ch" forName="parTx4" refType="w" fact="0.2101"/>
                  <dgm:constr type="h" for="ch" forName="parTx4" refType="h" fact="0.0704"/>
                  <dgm:constr type="ctrX" for="ch" forName="picture4" refType="w" fact="0.3963"/>
                  <dgm:constr type="ctrY" for="ch" forName="picture4" refType="h" fact="0.5294"/>
                  <dgm:constr type="w" for="ch" forName="picture4" refType="w" fact="0.0974"/>
                  <dgm:constr type="h" for="ch" forName="picture4" refType="h" fact="0.1218"/>
                  <dgm:constr type="r" for="ch" forName="desTx4" refType="l" refFor="ch" refForName="parTx4"/>
                  <dgm:constr type="l" for="ch" forName="desTx4"/>
                  <dgm:constr type="t" for="ch" forName="desTx4" refType="t" refFor="ch" refForName="parTx4"/>
                  <dgm:constr type="h" for="ch" forName="desTx4" refType="h" refFor="ch" refForName="parTx4"/>
                  <dgm:constr type="r" for="ch" forName="parTx5" refType="w" fact="0.3424"/>
                  <dgm:constr type="t" for="ch" forName="parTx5" refType="h" fact="0.3951"/>
                  <dgm:constr type="w" for="ch" forName="parTx5" refType="w" fact="0.2101"/>
                  <dgm:constr type="h" for="ch" forName="parTx5" refType="h" fact="0.0704"/>
                  <dgm:constr type="ctrX" for="ch" forName="picture5" refType="w" fact="0.352"/>
                  <dgm:constr type="ctrY" for="ch" forName="picture5" refType="h" fact="0.3864"/>
                  <dgm:constr type="w" for="ch" forName="picture5" refType="w" fact="0.0974"/>
                  <dgm:constr type="h" for="ch" forName="picture5" refType="h" fact="0.1218"/>
                  <dgm:constr type="r" for="ch" forName="desTx5" refType="l" refFor="ch" refForName="parTx5"/>
                  <dgm:constr type="l" for="ch" forName="desTx5"/>
                  <dgm:constr type="t" for="ch" forName="desTx5" refType="t" refFor="ch" refForName="parTx5"/>
                  <dgm:constr type="h" for="ch" forName="desTx5" refType="h" refFor="ch" refForName="parTx5"/>
                  <dgm:constr type="r" for="ch" forName="parTx6" refType="w" fact="0.3172"/>
                  <dgm:constr type="t" for="ch" forName="parTx6" refType="h" fact="0.2531"/>
                  <dgm:constr type="w" for="ch" forName="parTx6" refType="w" fact="0.2101"/>
                  <dgm:constr type="h" for="ch" forName="parTx6" refType="h" fact="0.0704"/>
                  <dgm:constr type="ctrX" for="ch" forName="picture6" refType="w" fact="0.3267"/>
                  <dgm:constr type="ctrY" for="ch" forName="picture6" refType="h" fact="0.2444"/>
                  <dgm:constr type="w" for="ch" forName="picture6" refType="w" fact="0.0974"/>
                  <dgm:constr type="h" for="ch" forName="picture6" refType="h" fact="0.1218"/>
                  <dgm:constr type="r" for="ch" forName="desTx6" refType="l" refFor="ch" refForName="parTx6"/>
                  <dgm:constr type="l" for="ch" forName="desTx6"/>
                  <dgm:constr type="t" for="ch" forName="desTx6" refType="t" refFor="ch" refForName="parTx6"/>
                  <dgm:constr type="h" for="ch" forName="desTx6" refType="h" refFor="ch" refForName="parTx6"/>
                  <dgm:constr type="r" for="ch" forName="parTx7" refType="w" fact="0.3034"/>
                  <dgm:constr type="t" for="ch" forName="parTx7" refType="h" fact="0.1162"/>
                  <dgm:constr type="w" for="ch" forName="parTx7" refType="w" fact="0.2101"/>
                  <dgm:constr type="h" for="ch" forName="parTx7" refType="h" fact="0.0704"/>
                  <dgm:constr type="ctrX" for="ch" forName="picture7" refType="w" fact="0.3129"/>
                  <dgm:constr type="ctrY" for="ch" forName="picture7" refType="h" fact="0.1075"/>
                  <dgm:constr type="w" for="ch" forName="picture7" refType="w" fact="0.0974"/>
                  <dgm:constr type="h" for="ch" forName="picture7" refType="h" fact="0.1218"/>
                  <dgm:constr type="r" for="ch" forName="desTx7" refType="l" refFor="ch" refForName="parTx7"/>
                  <dgm:constr type="l" for="ch" forName="desTx7"/>
                  <dgm:constr type="t" for="ch" forName="desTx7" refType="t" refFor="ch" refForName="parTx7"/>
                  <dgm:constr type="h" for="ch" forName="desTx7" refType="h" refFor="ch" refForName="parTx7"/>
                </dgm:constrLst>
              </dgm:if>
              <dgm:else name="Name71">
                <dgm:alg type="composite">
                  <dgm:param type="ar" val="1.096"/>
                </dgm:alg>
                <dgm:constrLst>
                  <dgm:constr type="primFontSz" for="ch" forName="parTx1" op="equ" val="65"/>
                  <dgm:constr type="primFontSz" for="ch" forName="parTx2" refType="primFontSz" refFor="ch" refForName="parTx1" op="equ"/>
                  <dgm:constr type="primFontSz" for="ch" forName="parTx3" refType="primFontSz" refFor="ch" refForName="parTx1" op="equ"/>
                  <dgm:constr type="primFontSz" for="ch" forName="parTx4" refType="primFontSz" refFor="ch" refForName="parTx1" op="equ"/>
                  <dgm:constr type="primFontSz" for="ch" forName="parTx5" refType="primFontSz" refFor="ch" refForName="parTx1" op="equ"/>
                  <dgm:constr type="primFontSz" for="ch" forName="parTx6" refType="primFontSz" refFor="ch" refForName="parTx1" op="equ"/>
                  <dgm:constr type="primFontSz" for="ch" forName="parTx7" refType="primFontSz" refFor="ch" refForName="parTx1" op="equ"/>
                  <dgm:constr type="userD" refType="w" fact="0.0111"/>
                  <dgm:constr type="ctrX" for="ch" forName="dot1" refType="w" fact="0.5541"/>
                  <dgm:constr type="ctrY" for="ch" forName="dot1" refType="h" fact="0.8342"/>
                  <dgm:constr type="w" for="ch" forName="dot1" refType="userD"/>
                  <dgm:constr type="h" for="ch" forName="dot1" refType="userD"/>
                  <dgm:constr type="ctrX" for="ch" forName="dot2" refType="w" fact="0.5756"/>
                  <dgm:constr type="ctrY" for="ch" forName="dot2" refType="h" fact="0.8448"/>
                  <dgm:constr type="w" for="ch" forName="dot2" refType="userD"/>
                  <dgm:constr type="h" for="ch" forName="dot2" refType="userD"/>
                  <dgm:constr type="ctrX" for="ch" forName="dot3" refType="w" fact="0.5974"/>
                  <dgm:constr type="ctrY" for="ch" forName="dot3" refType="h" fact="0.8539"/>
                  <dgm:constr type="w" for="ch" forName="dot3" refType="userD"/>
                  <dgm:constr type="h" for="ch" forName="dot3" refType="userD"/>
                  <dgm:constr type="ctrX" for="ch" forName="dot4" refType="w" fact="0.6194"/>
                  <dgm:constr type="ctrY" for="ch" forName="dot4" refType="h" fact="0.8615"/>
                  <dgm:constr type="w" for="ch" forName="dot4" refType="userD"/>
                  <dgm:constr type="h" for="ch" forName="dot4" refType="userD"/>
                  <dgm:constr type="ctrX" for="ch" forName="dot5" refType="w" fact="0.6416"/>
                  <dgm:constr type="ctrY" for="ch" forName="dot5" refType="h" fact="0.8676"/>
                  <dgm:constr type="w" for="ch" forName="dot5" refType="userD"/>
                  <dgm:constr type="h" for="ch" forName="dot5" refType="userD"/>
                  <dgm:constr type="ctrX" for="ch" forName="dot6" refType="w" fact="0.4197"/>
                  <dgm:constr type="ctrY" for="ch" forName="dot6" refType="h" fact="0.7255"/>
                  <dgm:constr type="w" for="ch" forName="dot6" refType="userD"/>
                  <dgm:constr type="h" for="ch" forName="dot6" refType="userD"/>
                  <dgm:constr type="ctrX" for="ch" forName="dot7" refType="w" fact="0.4382"/>
                  <dgm:constr type="ctrY" for="ch" forName="dot7" refType="h" fact="0.7454"/>
                  <dgm:constr type="w" for="ch" forName="dot7" refType="userD"/>
                  <dgm:constr type="h" for="ch" forName="dot7" refType="userD"/>
                  <dgm:constr type="ctrX" for="ch" forName="dot8" refType="w" fact="0.3344"/>
                  <dgm:constr type="ctrY" for="ch" forName="dot8" refType="h" fact="0.6026"/>
                  <dgm:constr type="w" for="ch" forName="dot8" refType="userD"/>
                  <dgm:constr type="h" for="ch" forName="dot8" refType="userD"/>
                  <dgm:constr type="ctrX" for="ch" forName="dot9" refType="w" fact="0.2734"/>
                  <dgm:constr type="ctrY" for="ch" forName="dot9" refType="h" fact="0.4632"/>
                  <dgm:constr type="w" for="ch" forName="dot9" refType="userD"/>
                  <dgm:constr type="h" for="ch" forName="dot9" refType="userD"/>
                  <dgm:constr type="ctrX" for="ch" forName="dot10" refType="w" fact="0.2357"/>
                  <dgm:constr type="ctrY" for="ch" forName="dot10" refType="h" fact="0.3187"/>
                  <dgm:constr type="w" for="ch" forName="dot10" refType="userD"/>
                  <dgm:constr type="h" for="ch" forName="dot10" refType="userD"/>
                  <dgm:constr type="ctrX" for="ch" forName="dot11" refType="w" fact="0.2184"/>
                  <dgm:constr type="ctrY" for="ch" forName="dot11" refType="h" fact="0.1763"/>
                  <dgm:constr type="w" for="ch" forName="dot11" refType="userD"/>
                  <dgm:constr type="h" for="ch" forName="dot11" refType="userD"/>
                  <dgm:constr type="ctrX" for="ch" forName="dotArrow1" refType="w" fact="0.2442"/>
                  <dgm:constr type="ctrY" for="ch" forName="dotArrow1" refType="h" fact="-0.0099"/>
                  <dgm:constr type="w" for="ch" forName="dotArrow1" refType="userD"/>
                  <dgm:constr type="h" for="ch" forName="dotArrow1" refType="userD"/>
                  <dgm:constr type="ctrX" for="ch" forName="dotArrow2" refType="w" fact="0.2275"/>
                  <dgm:constr type="ctrY" for="ch" forName="dotArrow2" refType="h" fact="-0.0239"/>
                  <dgm:constr type="w" for="ch" forName="dotArrow2" refType="userD"/>
                  <dgm:constr type="h" for="ch" forName="dotArrow2" refType="userD"/>
                  <dgm:constr type="ctrX" for="ch" forName="dotArrow3" refType="w" fact="0.2108"/>
                  <dgm:constr type="ctrY" for="ch" forName="dotArrow3" refType="h" fact="-0.0378"/>
                  <dgm:constr type="w" for="ch" forName="dotArrow3" refType="userD"/>
                  <dgm:constr type="h" for="ch" forName="dotArrow3" refType="userD"/>
                  <dgm:constr type="ctrX" for="ch" forName="dotArrow4" refType="w" fact="0.1942"/>
                  <dgm:constr type="ctrY" for="ch" forName="dotArrow4" refType="h" fact="-0.0239"/>
                  <dgm:constr type="w" for="ch" forName="dotArrow4" refType="userD"/>
                  <dgm:constr type="h" for="ch" forName="dotArrow4" refType="userD"/>
                  <dgm:constr type="ctrX" for="ch" forName="dotArrow5" refType="w" fact="0.1775"/>
                  <dgm:constr type="ctrY" for="ch" forName="dotArrow5" refType="h" fact="-0.0099"/>
                  <dgm:constr type="w" for="ch" forName="dotArrow5" refType="userD"/>
                  <dgm:constr type="h" for="ch" forName="dotArrow5" refType="userD"/>
                  <dgm:constr type="ctrX" for="ch" forName="dotArrow6" refType="w" fact="0.2108"/>
                  <dgm:constr type="ctrY" for="ch" forName="dotArrow6" refType="h" fact="-0.0084"/>
                  <dgm:constr type="w" for="ch" forName="dotArrow6" refType="userD"/>
                  <dgm:constr type="h" for="ch" forName="dotArrow6" refType="userD"/>
                  <dgm:constr type="ctrX" for="ch" forName="dotArrow7" refType="w" fact="0.2108"/>
                  <dgm:constr type="ctrY" for="ch" forName="dotArrow7" refType="h" fact="0.0211"/>
                  <dgm:constr type="w" for="ch" forName="dotArrow7" refType="userD"/>
                  <dgm:constr type="h" for="ch" forName="dotArrow7" refType="userD"/>
                  <dgm:constr type="r" for="ch" forName="parTx1" refType="w" fact="0.7085"/>
                  <dgm:constr type="t" for="ch" forName="parTx1" refType="h" fact="0.8845"/>
                  <dgm:constr type="w" for="ch" forName="parTx1" refType="w" fact="0.2396"/>
                  <dgm:constr type="h" for="ch" forName="parTx1" refType="h" fact="0.0704"/>
                  <dgm:constr type="ctrX" for="ch" forName="picture1" refType="w" fact="0.7194"/>
                  <dgm:constr type="ctrY" for="ch" forName="picture1" refType="h" fact="0.8769"/>
                  <dgm:constr type="w" for="ch" forName="picture1" refType="w" fact="0.1111"/>
                  <dgm:constr type="h" for="ch" forName="picture1" refType="h" fact="0.1218"/>
                  <dgm:constr type="r" for="ch" forName="parTx2" refType="w" fact="0.4828"/>
                  <dgm:constr type="t" for="ch" forName="parTx2" refType="h" fact="0.7946"/>
                  <dgm:constr type="w" for="ch" forName="parTx2" refType="w" fact="0.2396"/>
                  <dgm:constr type="h" for="ch" forName="parTx2" refType="h" fact="0.0704"/>
                  <dgm:constr type="ctrX" for="ch" forName="picture2" refType="w" fact="0.4937"/>
                  <dgm:constr type="ctrY" for="ch" forName="picture2" refType="h" fact="0.787"/>
                  <dgm:constr type="w" for="ch" forName="picture2" refType="w" fact="0.1111"/>
                  <dgm:constr type="h" for="ch" forName="picture2" refType="h" fact="0.1218"/>
                  <dgm:constr type="r" for="ch" forName="parTx3" refType="w" fact="0.3715"/>
                  <dgm:constr type="t" for="ch" forName="parTx3" refType="h" fact="0.672"/>
                  <dgm:constr type="w" for="ch" forName="parTx3" refType="w" fact="0.2396"/>
                  <dgm:constr type="h" for="ch" forName="parTx3" refType="h" fact="0.0704"/>
                  <dgm:constr type="ctrX" for="ch" forName="picture3" refType="w" fact="0.3824"/>
                  <dgm:constr type="ctrY" for="ch" forName="picture3" refType="h" fact="0.6644"/>
                  <dgm:constr type="w" for="ch" forName="picture3" refType="w" fact="0.1111"/>
                  <dgm:constr type="h" for="ch" forName="picture3" refType="h" fact="0.1218"/>
                  <dgm:constr type="r" for="ch" forName="parTx4" refType="w" fact="0.3006"/>
                  <dgm:constr type="t" for="ch" forName="parTx4" refType="h" fact="0.5369"/>
                  <dgm:constr type="w" for="ch" forName="parTx4" refType="w" fact="0.2396"/>
                  <dgm:constr type="h" for="ch" forName="parTx4" refType="h" fact="0.0704"/>
                  <dgm:constr type="ctrX" for="ch" forName="picture4" refType="w" fact="0.3115"/>
                  <dgm:constr type="ctrY" for="ch" forName="picture4" refType="h" fact="0.5294"/>
                  <dgm:constr type="w" for="ch" forName="picture4" refType="w" fact="0.1111"/>
                  <dgm:constr type="h" for="ch" forName="picture4" refType="h" fact="0.1218"/>
                  <dgm:constr type="r" for="ch" forName="parTx5" refType="w" fact="0.25"/>
                  <dgm:constr type="t" for="ch" forName="parTx5" refType="h" fact="0.394"/>
                  <dgm:constr type="w" for="ch" forName="parTx5" refType="w" fact="0.2396"/>
                  <dgm:constr type="h" for="ch" forName="parTx5" refType="h" fact="0.0704"/>
                  <dgm:constr type="ctrX" for="ch" forName="picture5" refType="w" fact="0.2609"/>
                  <dgm:constr type="ctrY" for="ch" forName="picture5" refType="h" fact="0.3864"/>
                  <dgm:constr type="w" for="ch" forName="picture5" refType="w" fact="0.1111"/>
                  <dgm:constr type="h" for="ch" forName="picture5" refType="h" fact="0.1218"/>
                  <dgm:constr type="r" for="ch" forName="parTx6" refType="w" fact="0.2212"/>
                  <dgm:constr type="t" for="ch" forName="parTx6" refType="h" fact="0.252"/>
                  <dgm:constr type="w" for="ch" forName="parTx6" refType="w" fact="0.2396"/>
                  <dgm:constr type="h" for="ch" forName="parTx6" refType="h" fact="0.0704"/>
                  <dgm:constr type="ctrX" for="ch" forName="picture6" refType="w" fact="0.2321"/>
                  <dgm:constr type="ctrY" for="ch" forName="picture6" refType="h" fact="0.2444"/>
                  <dgm:constr type="w" for="ch" forName="picture6" refType="w" fact="0.1111"/>
                  <dgm:constr type="h" for="ch" forName="picture6" refType="h" fact="0.1218"/>
                  <dgm:constr type="r" for="ch" forName="parTx7" refType="w" fact="0.2055"/>
                  <dgm:constr type="t" for="ch" forName="parTx7" refType="h" fact="0.1151"/>
                  <dgm:constr type="w" for="ch" forName="parTx7" refType="w" fact="0.2396"/>
                  <dgm:constr type="h" for="ch" forName="parTx7" refType="h" fact="0.0704"/>
                  <dgm:constr type="ctrX" for="ch" forName="picture7" refType="w" fact="0.2164"/>
                  <dgm:constr type="ctrY" for="ch" forName="picture7" refType="h" fact="0.1075"/>
                  <dgm:constr type="w" for="ch" forName="picture7" refType="w" fact="0.1111"/>
                  <dgm:constr type="h" for="ch" forName="picture7" refType="h" fact="0.1218"/>
                </dgm:constrLst>
              </dgm:else>
            </dgm:choose>
          </dgm:else>
        </dgm:choose>
      </dgm:else>
    </dgm:choose>
    <dgm:forEach name="wrapper" axis="self" ptType="parTrans">
      <dgm:forEach name="wrapper2" axis="self" ptType="sibTrans" st="2">
        <dgm:forEach name="imageRepeat" axis="self">
          <dgm:layoutNode name="imageRepeat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 axis="self"/>
          </dgm:layoutNode>
        </dgm:forEach>
      </dgm:forEach>
    </dgm:forEach>
    <dgm:choose name="Name72">
      <dgm:if name="Name73" axis="ch" ptType="node" func="cnt" op="gte" val="2">
        <dgm:layoutNode name="dot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4"/>
    </dgm:choose>
    <dgm:choose name="Name75">
      <dgm:if name="Name76" axis="ch" ptType="node" func="cnt" op="gte" val="3">
        <dgm:layoutNode name="dot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77"/>
    </dgm:choose>
    <dgm:choose name="Name78">
      <dgm:if name="Name79" axis="ch" ptType="node" func="cnt" op="gte" val="4">
        <dgm:layoutNode name="dot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0"/>
    </dgm:choose>
    <dgm:choose name="Name81">
      <dgm:if name="Name82" axis="ch" ptType="node" func="cnt" op="gte" val="5">
        <dgm:layoutNode name="dot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8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3"/>
    </dgm:choose>
    <dgm:choose name="Name84">
      <dgm:if name="Name85" axis="ch" ptType="node" func="cnt" op="gte" val="6">
        <dgm:layoutNode name="dot9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10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6"/>
    </dgm:choose>
    <dgm:choose name="Name87">
      <dgm:if name="Name88" axis="ch" ptType="node" func="cnt" op="gte" val="7">
        <dgm:layoutNode name="dot1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89"/>
    </dgm:choose>
    <dgm:choose name="Name90">
      <dgm:if name="Name91" axis="ch" ptType="node" func="cnt" op="gte" val="2">
        <dgm:layoutNode name="dotArrow1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2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3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4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5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6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dotArrow7" styleLbl="alignNode1">
          <dgm:alg type="sp"/>
          <dgm:shape xmlns:r="http://schemas.openxmlformats.org/officeDocument/2006/relationships" type="ellipse" r:blip="">
            <dgm:adjLst/>
          </dgm:shape>
          <dgm:presOf/>
        </dgm:layoutNode>
      </dgm:if>
      <dgm:else name="Name92"/>
    </dgm:choose>
    <dgm:forEach name="Name93" axis="ch" ptType="node" cnt="1">
      <dgm:layoutNode name="parTx1">
        <dgm:choose name="Name94">
          <dgm:if name="Name95" func="var" arg="dir" op="equ" val="norm">
            <dgm:alg type="tx">
              <dgm:param type="parTxLTRAlign" val="l"/>
              <dgm:param type="parTxRTLAlign" val="r"/>
            </dgm:alg>
          </dgm:if>
          <dgm:else name="Name96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97">
          <dgm:if name="Name98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99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00">
        <dgm:if name="Name101" axis="ch" ptType="node" func="cnt" op="gte" val="1">
          <dgm:layoutNode name="desTx1" styleLbl="revTx">
            <dgm:varLst>
              <dgm:bulletEnabled val="1"/>
            </dgm:varLst>
            <dgm:choose name="Name102">
              <dgm:if name="Name103" func="var" arg="dir" op="equ" val="norm">
                <dgm:choose name="Name104">
                  <dgm:if name="Name105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06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07">
                <dgm:choose name="Name108">
                  <dgm:if name="Name109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10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11"/>
      </dgm:choose>
    </dgm:forEach>
    <dgm:forEach name="Name112" axis="ch" ptType="sibTrans" hideLastTrans="0" cnt="1">
      <dgm:layoutNode name="picture1">
        <dgm:alg type="sp"/>
        <dgm:shape xmlns:r="http://schemas.openxmlformats.org/officeDocument/2006/relationships" r:blip="">
          <dgm:adjLst/>
        </dgm:shape>
        <dgm:presOf/>
        <dgm:constrLst/>
        <dgm:forEach name="Name113" ref="imageRepeat"/>
      </dgm:layoutNode>
    </dgm:forEach>
    <dgm:forEach name="Name114" axis="ch" ptType="node" st="2" cnt="1">
      <dgm:layoutNode name="parTx2">
        <dgm:choose name="Name115">
          <dgm:if name="Name116" func="var" arg="dir" op="equ" val="norm">
            <dgm:alg type="tx">
              <dgm:param type="parTxLTRAlign" val="l"/>
              <dgm:param type="parTxRTLAlign" val="r"/>
            </dgm:alg>
          </dgm:if>
          <dgm:else name="Name117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18">
          <dgm:if name="Name119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20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21">
        <dgm:if name="Name122" axis="ch" ptType="node" func="cnt" op="gte" val="1">
          <dgm:layoutNode name="desTx2" styleLbl="revTx">
            <dgm:varLst>
              <dgm:bulletEnabled val="1"/>
            </dgm:varLst>
            <dgm:choose name="Name123">
              <dgm:if name="Name124" func="var" arg="dir" op="equ" val="norm">
                <dgm:choose name="Name125">
                  <dgm:if name="Name126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27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28">
                <dgm:choose name="Name129">
                  <dgm:if name="Name130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31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32"/>
      </dgm:choose>
    </dgm:forEach>
    <dgm:forEach name="Name133" axis="ch" ptType="sibTrans" hideLastTrans="0" st="2" cnt="1">
      <dgm:layoutNode name="picture2">
        <dgm:alg type="sp"/>
        <dgm:shape xmlns:r="http://schemas.openxmlformats.org/officeDocument/2006/relationships" r:blip="">
          <dgm:adjLst/>
        </dgm:shape>
        <dgm:presOf/>
        <dgm:constrLst/>
        <dgm:forEach name="Name134" ref="imageRepeat"/>
      </dgm:layoutNode>
    </dgm:forEach>
    <dgm:forEach name="Name135" axis="ch" ptType="node" st="3" cnt="1">
      <dgm:layoutNode name="parTx3">
        <dgm:choose name="Name136">
          <dgm:if name="Name137" func="var" arg="dir" op="equ" val="norm">
            <dgm:alg type="tx">
              <dgm:param type="parTxLTRAlign" val="l"/>
              <dgm:param type="parTxRTLAlign" val="r"/>
            </dgm:alg>
          </dgm:if>
          <dgm:else name="Name138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39">
          <dgm:if name="Name140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41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42">
        <dgm:if name="Name143" axis="ch" ptType="node" func="cnt" op="gte" val="1">
          <dgm:layoutNode name="desTx3" styleLbl="revTx">
            <dgm:varLst>
              <dgm:bulletEnabled val="1"/>
            </dgm:varLst>
            <dgm:choose name="Name144">
              <dgm:if name="Name145" func="var" arg="dir" op="equ" val="norm">
                <dgm:choose name="Name146">
                  <dgm:if name="Name147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48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49">
                <dgm:choose name="Name150">
                  <dgm:if name="Name151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5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53"/>
      </dgm:choose>
    </dgm:forEach>
    <dgm:forEach name="Name154" axis="ch" ptType="sibTrans" hideLastTrans="0" st="3" cnt="1">
      <dgm:layoutNode name="picture3">
        <dgm:alg type="sp"/>
        <dgm:shape xmlns:r="http://schemas.openxmlformats.org/officeDocument/2006/relationships" r:blip="">
          <dgm:adjLst/>
        </dgm:shape>
        <dgm:presOf/>
        <dgm:constrLst/>
        <dgm:forEach name="Name155" ref="imageRepeat"/>
      </dgm:layoutNode>
    </dgm:forEach>
    <dgm:forEach name="Name156" axis="ch" ptType="node" st="4" cnt="1">
      <dgm:layoutNode name="parTx4">
        <dgm:choose name="Name157">
          <dgm:if name="Name158" func="var" arg="dir" op="equ" val="norm">
            <dgm:alg type="tx">
              <dgm:param type="parTxLTRAlign" val="l"/>
              <dgm:param type="parTxRTLAlign" val="r"/>
            </dgm:alg>
          </dgm:if>
          <dgm:else name="Name159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60">
          <dgm:if name="Name161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62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63">
        <dgm:if name="Name164" axis="ch" ptType="node" func="cnt" op="gte" val="1">
          <dgm:layoutNode name="desTx4" styleLbl="revTx">
            <dgm:varLst>
              <dgm:bulletEnabled val="1"/>
            </dgm:varLst>
            <dgm:choose name="Name165">
              <dgm:if name="Name166" func="var" arg="dir" op="equ" val="norm">
                <dgm:choose name="Name167">
                  <dgm:if name="Name168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69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70">
                <dgm:choose name="Name171">
                  <dgm:if name="Name172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73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74"/>
      </dgm:choose>
    </dgm:forEach>
    <dgm:forEach name="Name175" axis="ch" ptType="sibTrans" hideLastTrans="0" st="4" cnt="1">
      <dgm:layoutNode name="picture4">
        <dgm:alg type="sp"/>
        <dgm:shape xmlns:r="http://schemas.openxmlformats.org/officeDocument/2006/relationships" r:blip="">
          <dgm:adjLst/>
        </dgm:shape>
        <dgm:presOf/>
        <dgm:constrLst/>
        <dgm:forEach name="Name176" ref="imageRepeat"/>
      </dgm:layoutNode>
    </dgm:forEach>
    <dgm:forEach name="Name177" axis="ch" ptType="node" st="5" cnt="1">
      <dgm:layoutNode name="parTx5">
        <dgm:choose name="Name178">
          <dgm:if name="Name179" func="var" arg="dir" op="equ" val="norm">
            <dgm:alg type="tx">
              <dgm:param type="parTxLTRAlign" val="l"/>
              <dgm:param type="parTxRTLAlign" val="r"/>
            </dgm:alg>
          </dgm:if>
          <dgm:else name="Name180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181">
          <dgm:if name="Name182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183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184">
        <dgm:if name="Name185" axis="ch" ptType="node" func="cnt" op="gte" val="1">
          <dgm:layoutNode name="desTx5" styleLbl="revTx">
            <dgm:varLst>
              <dgm:bulletEnabled val="1"/>
            </dgm:varLst>
            <dgm:choose name="Name186">
              <dgm:if name="Name187" func="var" arg="dir" op="equ" val="norm">
                <dgm:choose name="Name188">
                  <dgm:if name="Name189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190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191">
                <dgm:choose name="Name192">
                  <dgm:if name="Name193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194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195"/>
      </dgm:choose>
    </dgm:forEach>
    <dgm:forEach name="Name196" axis="ch" ptType="sibTrans" hideLastTrans="0" st="5" cnt="1">
      <dgm:layoutNode name="picture5">
        <dgm:alg type="sp"/>
        <dgm:shape xmlns:r="http://schemas.openxmlformats.org/officeDocument/2006/relationships" r:blip="">
          <dgm:adjLst/>
        </dgm:shape>
        <dgm:presOf/>
        <dgm:constrLst/>
        <dgm:forEach name="Name197" ref="imageRepeat"/>
      </dgm:layoutNode>
    </dgm:forEach>
    <dgm:forEach name="Name198" axis="ch" ptType="node" st="6" cnt="1">
      <dgm:layoutNode name="parTx6">
        <dgm:choose name="Name199">
          <dgm:if name="Name200" func="var" arg="dir" op="equ" val="norm">
            <dgm:alg type="tx">
              <dgm:param type="parTxLTRAlign" val="l"/>
              <dgm:param type="parTxRTLAlign" val="r"/>
            </dgm:alg>
          </dgm:if>
          <dgm:else name="Name201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02">
          <dgm:if name="Name203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04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05">
        <dgm:if name="Name206" axis="ch" ptType="node" func="cnt" op="gte" val="1">
          <dgm:layoutNode name="desTx6" styleLbl="revTx">
            <dgm:varLst>
              <dgm:bulletEnabled val="1"/>
            </dgm:varLst>
            <dgm:choose name="Name207">
              <dgm:if name="Name208" func="var" arg="dir" op="equ" val="norm">
                <dgm:choose name="Name209">
                  <dgm:if name="Name210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11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12">
                <dgm:choose name="Name213">
                  <dgm:if name="Name214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15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16"/>
      </dgm:choose>
    </dgm:forEach>
    <dgm:forEach name="Name217" axis="ch" ptType="sibTrans" hideLastTrans="0" st="6" cnt="1">
      <dgm:layoutNode name="picture6">
        <dgm:alg type="sp"/>
        <dgm:shape xmlns:r="http://schemas.openxmlformats.org/officeDocument/2006/relationships" r:blip="">
          <dgm:adjLst/>
        </dgm:shape>
        <dgm:presOf/>
        <dgm:constrLst/>
        <dgm:forEach name="Name218" ref="imageRepeat"/>
      </dgm:layoutNode>
    </dgm:forEach>
    <dgm:forEach name="Name219" axis="ch" ptType="node" st="7" cnt="1">
      <dgm:layoutNode name="parTx7">
        <dgm:choose name="Name220">
          <dgm:if name="Name221" func="var" arg="dir" op="equ" val="norm">
            <dgm:alg type="tx">
              <dgm:param type="parTxLTRAlign" val="l"/>
              <dgm:param type="parTxRTLAlign" val="r"/>
            </dgm:alg>
          </dgm:if>
          <dgm:else name="Name222">
            <dgm:alg type="tx">
              <dgm:param type="parTxLTRAlign" val="r"/>
              <dgm:param type="parTxRTLAlign" val="l"/>
            </dgm:alg>
          </dgm:else>
        </dgm:choose>
        <dgm:shape xmlns:r="http://schemas.openxmlformats.org/officeDocument/2006/relationships" type="roundRect" r:blip="">
          <dgm:adjLst/>
        </dgm:shape>
        <dgm:presOf axis="self" ptType="node"/>
        <dgm:choose name="Name223">
          <dgm:if name="Name224" func="var" arg="dir" op="equ" val="norm">
            <dgm:constrLst>
              <dgm:constr type="lMarg" refType="w" fact="0.6"/>
              <dgm:constr type="rMarg" refType="primFontSz" fact="0.3"/>
              <dgm:constr type="tMarg" refType="primFontSz" fact="0.3"/>
              <dgm:constr type="bMarg" refType="primFontSz" fact="0.3"/>
            </dgm:constrLst>
          </dgm:if>
          <dgm:else name="Name225">
            <dgm:constrLst>
              <dgm:constr type="rMarg" refType="w" fact="0.6"/>
              <dgm:constr type="lMarg" refType="primFontSz" fact="0.3"/>
              <dgm:constr type="tMarg" refType="primFontSz" fact="0.3"/>
              <dgm:constr type="bMarg" refType="primFontSz" fact="0.3"/>
            </dgm:constrLst>
          </dgm:else>
        </dgm:choose>
        <dgm:ruleLst>
          <dgm:rule type="primFontSz" val="5" fact="NaN" max="NaN"/>
        </dgm:ruleLst>
      </dgm:layoutNode>
      <dgm:choose name="Name226">
        <dgm:if name="Name227" axis="ch" ptType="node" func="cnt" op="gte" val="1">
          <dgm:layoutNode name="desTx7" styleLbl="revTx">
            <dgm:varLst>
              <dgm:bulletEnabled val="1"/>
            </dgm:varLst>
            <dgm:choose name="Name228">
              <dgm:if name="Name229" func="var" arg="dir" op="equ" val="norm">
                <dgm:choose name="Name230">
                  <dgm:if name="Name231" axis="ch" ptType="node" func="cnt" op="gte" val="2">
                    <dgm:alg type="tx">
                      <dgm:param type="parTxLTRAlign" val="l"/>
                      <dgm:param type="parTxRTLAlign" val="l"/>
                      <dgm:param type="stBulletLvl" val="1"/>
                    </dgm:alg>
                  </dgm:if>
                  <dgm:else name="Name232">
                    <dgm:alg type="tx">
                      <dgm:param type="parTxLTRAlign" val="l"/>
                      <dgm:param type="parTxRTLAlign" val="l"/>
                    </dgm:alg>
                  </dgm:else>
                </dgm:choose>
              </dgm:if>
              <dgm:else name="Name233">
                <dgm:choose name="Name234">
                  <dgm:if name="Name235" axis="ch" ptType="node" func="cnt" op="gte" val="2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  <dgm:param type="stBulletLvl" val="1"/>
                    </dgm:alg>
                  </dgm:if>
                  <dgm:else name="Name236">
                    <dgm:alg type="tx">
                      <dgm:param type="parTxLTRAlign" val="r"/>
                      <dgm:param type="parTxRTLAlign" val="r"/>
                      <dgm:param type="shpTxLTRAlignCh" val="r"/>
                      <dgm:param type="shpTxRTLAlignCh" val="r"/>
                    </dgm:alg>
                  </dgm:else>
                </dgm:choose>
              </dgm:else>
            </dgm:choose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rMarg" refType="primFontSz" fact="0.2"/>
              <dgm:constr type="tMarg" refType="primFontSz" fact="0.2"/>
              <dgm:constr type="bMarg" refType="primFontSz" fact="0.2"/>
            </dgm:constrLst>
            <dgm:ruleLst>
              <dgm:rule type="primFontSz" val="5" fact="NaN" max="NaN"/>
            </dgm:ruleLst>
          </dgm:layoutNode>
        </dgm:if>
        <dgm:else name="Name237"/>
      </dgm:choose>
    </dgm:forEach>
    <dgm:forEach name="Name238" axis="ch" ptType="sibTrans" hideLastTrans="0" st="7" cnt="1">
      <dgm:layoutNode name="picture7">
        <dgm:alg type="sp"/>
        <dgm:shape xmlns:r="http://schemas.openxmlformats.org/officeDocument/2006/relationships" r:blip="">
          <dgm:adjLst/>
        </dgm:shape>
        <dgm:presOf/>
        <dgm:constrLst/>
        <dgm:forEach name="Name239" ref="image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516B82DA-BFC1-9844-933B-5BF0E30540F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057E07B-9AE2-5E4B-9E78-7937481B40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158C18-91E2-D948-B6CE-ADDD5AFD4E39}" type="datetimeFigureOut">
              <a:rPr lang="en-US" smtClean="0"/>
              <a:t>6/3/23</a:t>
            </a:fld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D3469D-2BFD-5141-B498-22B8CB4C657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7582557-2525-8F49-8D86-483C3E34F61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BAD454-0D75-6542-9960-19918ED3A254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97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7A1F2-E4B7-A347-90A9-C3E2D89D0D04}" type="datetimeFigureOut">
              <a:rPr lang="en-US" smtClean="0"/>
              <a:t>6/3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044C3E2-8633-3742-97C6-3410CE8FC824}" type="slidenum">
              <a:rPr lang="en-US" smtClean="0"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687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E778C7D-267C-3F44-9ECF-1822E2B83C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7484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ADDRESSE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050A9C1-A0B6-0A4A-B1CD-8A07E16C572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073968"/>
            <a:ext cx="10515600" cy="100291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OUR OFFER</a:t>
            </a:r>
          </a:p>
          <a:p>
            <a:pPr lvl="0"/>
            <a:r>
              <a:rPr lang="de-DE" dirty="0"/>
              <a:t>DATE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5FA8745-B648-6140-AC16-105419D3C9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0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76FE84AE-B42D-BA45-AD05-00EF2C5E6E69}"/>
              </a:ext>
            </a:extLst>
          </p:cNvPr>
          <p:cNvSpPr txBox="1"/>
          <p:nvPr userDrawn="1"/>
        </p:nvSpPr>
        <p:spPr>
          <a:xfrm>
            <a:off x="845716" y="5850000"/>
            <a:ext cx="77080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noProof="0" dirty="0">
                <a:solidFill>
                  <a:schemeClr val="bg1"/>
                </a:solidFill>
              </a:rPr>
              <a:t>BEIJING | BERLIN | BRUSSELS | DUSSELDORF | FRANKFURT | HAMBURG </a:t>
            </a:r>
            <a:br>
              <a:rPr lang="en-US" sz="1100" noProof="0" dirty="0">
                <a:solidFill>
                  <a:schemeClr val="bg1"/>
                </a:solidFill>
              </a:rPr>
            </a:br>
            <a:r>
              <a:rPr lang="en-US" sz="1100" noProof="0" dirty="0">
                <a:solidFill>
                  <a:schemeClr val="bg1"/>
                </a:solidFill>
              </a:rPr>
              <a:t>LONDON | MILAN | MOSCOW | MUNICH | PARIS | ROME | SHANGHAI</a:t>
            </a:r>
          </a:p>
          <a:p>
            <a:endParaRPr lang="en-US" sz="1100" dirty="0">
              <a:solidFill>
                <a:schemeClr val="bg1"/>
              </a:solidFill>
            </a:endParaRPr>
          </a:p>
          <a:p>
            <a:r>
              <a:rPr lang="en-US" sz="1700" b="1" dirty="0">
                <a:solidFill>
                  <a:schemeClr val="bg1"/>
                </a:solidFill>
              </a:rPr>
              <a:t>ADVANT-NCTM.COM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C6C34C6-610E-864D-8D00-300A8E3BBE0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931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852551" y="1869671"/>
            <a:ext cx="8775865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70259DFD-39E3-2B4C-8EB5-74B44A8456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C12D7936-1AAA-9244-A029-B5145F072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852550" y="2419378"/>
            <a:ext cx="8775866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5FFBB87-C3F4-344E-9536-5830E32818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52549" y="2969085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B4D4F205-9CB0-5543-A396-DEEDBCE20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852549" y="3518792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938EB553-D83F-8E4B-A7E9-2AC368BB66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852549" y="4068499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5BC9A5A-CA04-C946-ABE6-91CAA6E5F9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852549" y="4618206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67EEFC22-ECF6-EF47-A5E7-8B56659644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852549" y="5167913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561C174B-66C4-C244-917F-751D98D771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8051" y="1869671"/>
            <a:ext cx="752255" cy="36512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4FBCAF5-29B1-DA4B-A7DB-98BF3F4479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8050" y="2420031"/>
            <a:ext cx="752256" cy="365126"/>
          </a:xfrm>
          <a:prstGeom prst="rect">
            <a:avLst/>
          </a:prstGeom>
          <a:solidFill>
            <a:schemeClr val="accent5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4A02F0F-DB36-F045-8024-C825C1A1AE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8048" y="2970391"/>
            <a:ext cx="752258" cy="36512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1E049BAD-D2B8-A846-B6B2-367B89E7BA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8048" y="3520751"/>
            <a:ext cx="752258" cy="365126"/>
          </a:xfrm>
          <a:prstGeom prst="rect">
            <a:avLst/>
          </a:prstGeom>
          <a:solidFill>
            <a:schemeClr val="accent6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05827C-CA6E-9347-B476-C9BEF036C5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8048" y="4071111"/>
            <a:ext cx="752258" cy="365126"/>
          </a:xfrm>
          <a:prstGeom prst="rect">
            <a:avLst/>
          </a:prstGeom>
          <a:solidFill>
            <a:schemeClr val="accent3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684EF84-B26A-EA4C-9E1A-61DA37CE70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8048" y="4621471"/>
            <a:ext cx="752258" cy="365126"/>
          </a:xfrm>
          <a:prstGeom prst="rect">
            <a:avLst/>
          </a:prstGeom>
          <a:solidFill>
            <a:schemeClr val="accent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239E5B2C-7BD2-7744-820B-FF7DCA0AD3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8047" y="5171831"/>
            <a:ext cx="752259" cy="365126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E976968F-D57E-724C-8E5E-A64931D68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852549" y="5717620"/>
            <a:ext cx="8775867" cy="365126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EDC1B909-2063-744F-91CF-A9E8AFC165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8047" y="5722190"/>
            <a:ext cx="752259" cy="365126"/>
          </a:xfrm>
          <a:prstGeom prst="rect">
            <a:avLst/>
          </a:prstGeom>
          <a:solidFill>
            <a:schemeClr val="accent1"/>
          </a:solidFill>
        </p:spPr>
        <p:txBody>
          <a:bodyPr anchor="ctr"/>
          <a:lstStyle>
            <a:lvl1pPr algn="ctr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161C5A64-7E3B-D641-BC1B-DE42D01FC4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793075" y="1869018"/>
            <a:ext cx="560124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B79E5BBB-DB39-1542-B007-F1A8EDC35F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793074" y="2419378"/>
            <a:ext cx="560125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CF12D359-7A50-0641-B3A8-171DBD5AF79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0793073" y="296973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BC2F1AC6-3B73-DF41-9152-B293C0A2C8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793073" y="352009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80D4C78A-9466-D643-B853-C0341926F64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0793073" y="407045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81A79153-BFDF-074D-B536-6F61622AF1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793073" y="4620818"/>
            <a:ext cx="560126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73D2E6B9-74E3-6C45-8A9B-0580722B4F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0793072" y="5171178"/>
            <a:ext cx="560127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B872768B-9084-C94E-916F-D5070E6043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0793072" y="5721537"/>
            <a:ext cx="560127" cy="365126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8FA4426-CFB9-494D-9531-7BCB3A359A9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DFA86F0E-F9C8-C64B-8EF6-7F5BB2A9477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2583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WHIT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6147805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5A35E00-86E7-4C44-A1E9-916100B9A9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57157" y="0"/>
            <a:ext cx="5034844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211" y="1870324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1" name="Textplatzhalter 12">
            <a:extLst>
              <a:ext uri="{FF2B5EF4-FFF2-40B4-BE49-F238E27FC236}">
                <a16:creationId xmlns:a16="http://schemas.microsoft.com/office/drawing/2014/main" id="{C12D7936-1AAA-9244-A029-B5145F072B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3211" y="2419131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85FFBB87-C3F4-344E-9536-5830E32818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3211" y="2967938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B4D4F205-9CB0-5543-A396-DEEDBCE2053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3211" y="3516745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938EB553-D83F-8E4B-A7E9-2AC368BB66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3211" y="4065552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7" name="Textplatzhalter 12">
            <a:extLst>
              <a:ext uri="{FF2B5EF4-FFF2-40B4-BE49-F238E27FC236}">
                <a16:creationId xmlns:a16="http://schemas.microsoft.com/office/drawing/2014/main" id="{C5BC9A5A-CA04-C946-ABE6-91CAA6E5F9C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3211" y="4614359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67EEFC22-ECF6-EF47-A5E7-8B56659644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3211" y="5163166"/>
            <a:ext cx="4434849" cy="3651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561C174B-66C4-C244-917F-751D98D771E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0" y="1870324"/>
            <a:ext cx="758430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14FBCAF5-29B1-DA4B-A7DB-98BF3F4479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800" y="2419784"/>
            <a:ext cx="758431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74A02F0F-DB36-F045-8024-C825C1A1AE4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799" y="296924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1E049BAD-D2B8-A846-B6B2-367B89E7BA3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799" y="351870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B905827C-CA6E-9347-B476-C9BEF036C55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799" y="406816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E684EF84-B26A-EA4C-9E1A-61DA37CE70F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8799" y="461762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239E5B2C-7BD2-7744-820B-FF7DCA0AD38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799" y="5167084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27" name="Textplatzhalter 12">
            <a:extLst>
              <a:ext uri="{FF2B5EF4-FFF2-40B4-BE49-F238E27FC236}">
                <a16:creationId xmlns:a16="http://schemas.microsoft.com/office/drawing/2014/main" id="{E976968F-D57E-724C-8E5E-A64931D68A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53211" y="5711972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8" name="Textplatzhalter 12">
            <a:extLst>
              <a:ext uri="{FF2B5EF4-FFF2-40B4-BE49-F238E27FC236}">
                <a16:creationId xmlns:a16="http://schemas.microsoft.com/office/drawing/2014/main" id="{EDC1B909-2063-744F-91CF-A9E8AFC1656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800" y="5716542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29" name="Textplatzhalter 12">
            <a:extLst>
              <a:ext uri="{FF2B5EF4-FFF2-40B4-BE49-F238E27FC236}">
                <a16:creationId xmlns:a16="http://schemas.microsoft.com/office/drawing/2014/main" id="{161C5A64-7E3B-D641-BC1B-DE42D01FC4F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4038" y="1869671"/>
            <a:ext cx="642569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0" name="Textplatzhalter 12">
            <a:extLst>
              <a:ext uri="{FF2B5EF4-FFF2-40B4-BE49-F238E27FC236}">
                <a16:creationId xmlns:a16="http://schemas.microsoft.com/office/drawing/2014/main" id="{B79E5BBB-DB39-1542-B007-F1A8EDC35F8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4037" y="2418782"/>
            <a:ext cx="642570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1" name="Textplatzhalter 12">
            <a:extLst>
              <a:ext uri="{FF2B5EF4-FFF2-40B4-BE49-F238E27FC236}">
                <a16:creationId xmlns:a16="http://schemas.microsoft.com/office/drawing/2014/main" id="{CF12D359-7A50-0641-B3A8-171DBD5AF79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44035" y="2967893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2" name="Textplatzhalter 12">
            <a:extLst>
              <a:ext uri="{FF2B5EF4-FFF2-40B4-BE49-F238E27FC236}">
                <a16:creationId xmlns:a16="http://schemas.microsoft.com/office/drawing/2014/main" id="{BC2F1AC6-3B73-DF41-9152-B293C0A2C8B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44035" y="3517004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3" name="Textplatzhalter 12">
            <a:extLst>
              <a:ext uri="{FF2B5EF4-FFF2-40B4-BE49-F238E27FC236}">
                <a16:creationId xmlns:a16="http://schemas.microsoft.com/office/drawing/2014/main" id="{80D4C78A-9466-D643-B853-C0341926F64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44035" y="4066115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4" name="Textplatzhalter 12">
            <a:extLst>
              <a:ext uri="{FF2B5EF4-FFF2-40B4-BE49-F238E27FC236}">
                <a16:creationId xmlns:a16="http://schemas.microsoft.com/office/drawing/2014/main" id="{81A79153-BFDF-074D-B536-6F61622AF1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44035" y="4615226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5" name="Textplatzhalter 12">
            <a:extLst>
              <a:ext uri="{FF2B5EF4-FFF2-40B4-BE49-F238E27FC236}">
                <a16:creationId xmlns:a16="http://schemas.microsoft.com/office/drawing/2014/main" id="{73D2E6B9-74E3-6C45-8A9B-0580722B4F1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44035" y="5164337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6" name="Textplatzhalter 12">
            <a:extLst>
              <a:ext uri="{FF2B5EF4-FFF2-40B4-BE49-F238E27FC236}">
                <a16:creationId xmlns:a16="http://schemas.microsoft.com/office/drawing/2014/main" id="{B872768B-9084-C94E-916F-D5070E60439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44038" y="5713446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C1F60F98-2DA7-F942-8ABC-B442104FB7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2" y="1069274"/>
            <a:ext cx="6147804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pic>
        <p:nvPicPr>
          <p:cNvPr id="39" name="Grafik 38">
            <a:extLst>
              <a:ext uri="{FF2B5EF4-FFF2-40B4-BE49-F238E27FC236}">
                <a16:creationId xmlns:a16="http://schemas.microsoft.com/office/drawing/2014/main" id="{935ED12C-7382-2E4E-9630-BF20B7F363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194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RED_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6147805" cy="524223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05A35E00-86E7-4C44-A1E9-916100B9A99D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7157156" y="0"/>
            <a:ext cx="5034844" cy="6858000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Verdan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5EA04153-0E09-184E-9760-FD7A674DBB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802" y="1069274"/>
            <a:ext cx="6147804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41" name="Textplatzhalter 12">
            <a:extLst>
              <a:ext uri="{FF2B5EF4-FFF2-40B4-BE49-F238E27FC236}">
                <a16:creationId xmlns:a16="http://schemas.microsoft.com/office/drawing/2014/main" id="{055F8182-E024-2344-97FE-06A61592DA1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53211" y="1870324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2" name="Textplatzhalter 12">
            <a:extLst>
              <a:ext uri="{FF2B5EF4-FFF2-40B4-BE49-F238E27FC236}">
                <a16:creationId xmlns:a16="http://schemas.microsoft.com/office/drawing/2014/main" id="{23917B3E-ECC2-F04D-8D30-06FC96B385B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53211" y="2416407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3" name="Textplatzhalter 12">
            <a:extLst>
              <a:ext uri="{FF2B5EF4-FFF2-40B4-BE49-F238E27FC236}">
                <a16:creationId xmlns:a16="http://schemas.microsoft.com/office/drawing/2014/main" id="{5B227F02-1438-2B49-B726-6181228DFC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53211" y="2962490"/>
            <a:ext cx="4434849" cy="36512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4" name="Textplatzhalter 12">
            <a:extLst>
              <a:ext uri="{FF2B5EF4-FFF2-40B4-BE49-F238E27FC236}">
                <a16:creationId xmlns:a16="http://schemas.microsoft.com/office/drawing/2014/main" id="{4067A255-7848-9C40-AA4A-0CD6181A9F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753211" y="3508573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5" name="Textplatzhalter 12">
            <a:extLst>
              <a:ext uri="{FF2B5EF4-FFF2-40B4-BE49-F238E27FC236}">
                <a16:creationId xmlns:a16="http://schemas.microsoft.com/office/drawing/2014/main" id="{50EDA4FE-B0BB-2A4B-ADF8-50B932F6D7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753211" y="4054656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6" name="Textplatzhalter 12">
            <a:extLst>
              <a:ext uri="{FF2B5EF4-FFF2-40B4-BE49-F238E27FC236}">
                <a16:creationId xmlns:a16="http://schemas.microsoft.com/office/drawing/2014/main" id="{02CB96ED-4817-A445-AF64-964670CAB14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753211" y="4600739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7" name="Textplatzhalter 12">
            <a:extLst>
              <a:ext uri="{FF2B5EF4-FFF2-40B4-BE49-F238E27FC236}">
                <a16:creationId xmlns:a16="http://schemas.microsoft.com/office/drawing/2014/main" id="{F2787445-2188-5140-9637-D7B2732851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753211" y="5146822"/>
            <a:ext cx="4434849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48" name="Textplatzhalter 12">
            <a:extLst>
              <a:ext uri="{FF2B5EF4-FFF2-40B4-BE49-F238E27FC236}">
                <a16:creationId xmlns:a16="http://schemas.microsoft.com/office/drawing/2014/main" id="{8815740C-1B31-BF47-852B-C556EB3CF27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0" y="1870324"/>
            <a:ext cx="758430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</a:t>
            </a:r>
          </a:p>
        </p:txBody>
      </p:sp>
      <p:sp>
        <p:nvSpPr>
          <p:cNvPr id="49" name="Textplatzhalter 12">
            <a:extLst>
              <a:ext uri="{FF2B5EF4-FFF2-40B4-BE49-F238E27FC236}">
                <a16:creationId xmlns:a16="http://schemas.microsoft.com/office/drawing/2014/main" id="{6E6E6DB9-D51B-F447-A96E-0D0E6BAA783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0742" y="2417059"/>
            <a:ext cx="758431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</a:t>
            </a:r>
          </a:p>
        </p:txBody>
      </p:sp>
      <p:sp>
        <p:nvSpPr>
          <p:cNvPr id="50" name="Textplatzhalter 12">
            <a:extLst>
              <a:ext uri="{FF2B5EF4-FFF2-40B4-BE49-F238E27FC236}">
                <a16:creationId xmlns:a16="http://schemas.microsoft.com/office/drawing/2014/main" id="{5ECE0425-5380-D54F-8969-C19B89D54A4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40741" y="296379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II</a:t>
            </a:r>
          </a:p>
        </p:txBody>
      </p:sp>
      <p:sp>
        <p:nvSpPr>
          <p:cNvPr id="51" name="Textplatzhalter 12">
            <a:extLst>
              <a:ext uri="{FF2B5EF4-FFF2-40B4-BE49-F238E27FC236}">
                <a16:creationId xmlns:a16="http://schemas.microsoft.com/office/drawing/2014/main" id="{C57F272E-254A-CD43-A687-89C581CCF64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0741" y="3510529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IV</a:t>
            </a:r>
          </a:p>
        </p:txBody>
      </p:sp>
      <p:sp>
        <p:nvSpPr>
          <p:cNvPr id="52" name="Textplatzhalter 12">
            <a:extLst>
              <a:ext uri="{FF2B5EF4-FFF2-40B4-BE49-F238E27FC236}">
                <a16:creationId xmlns:a16="http://schemas.microsoft.com/office/drawing/2014/main" id="{1C6A18B8-2A51-9948-828B-498969DDC5B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0741" y="4057264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</a:t>
            </a:r>
          </a:p>
        </p:txBody>
      </p:sp>
      <p:sp>
        <p:nvSpPr>
          <p:cNvPr id="56" name="Textplatzhalter 12">
            <a:extLst>
              <a:ext uri="{FF2B5EF4-FFF2-40B4-BE49-F238E27FC236}">
                <a16:creationId xmlns:a16="http://schemas.microsoft.com/office/drawing/2014/main" id="{94E9500B-050A-1F4B-8D0B-1B20657420C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0741" y="4603999"/>
            <a:ext cx="758432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</a:t>
            </a:r>
          </a:p>
        </p:txBody>
      </p:sp>
      <p:sp>
        <p:nvSpPr>
          <p:cNvPr id="57" name="Textplatzhalter 12">
            <a:extLst>
              <a:ext uri="{FF2B5EF4-FFF2-40B4-BE49-F238E27FC236}">
                <a16:creationId xmlns:a16="http://schemas.microsoft.com/office/drawing/2014/main" id="{EBAEEE3C-8D16-534C-B323-D55A5E418BA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0741" y="5150734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</a:t>
            </a:r>
          </a:p>
        </p:txBody>
      </p:sp>
      <p:sp>
        <p:nvSpPr>
          <p:cNvPr id="58" name="Textplatzhalter 12">
            <a:extLst>
              <a:ext uri="{FF2B5EF4-FFF2-40B4-BE49-F238E27FC236}">
                <a16:creationId xmlns:a16="http://schemas.microsoft.com/office/drawing/2014/main" id="{DE41C35A-8B20-D944-A2A8-A57C6942F06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753211" y="5692902"/>
            <a:ext cx="4434850" cy="365126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9" name="Textplatzhalter 12">
            <a:extLst>
              <a:ext uri="{FF2B5EF4-FFF2-40B4-BE49-F238E27FC236}">
                <a16:creationId xmlns:a16="http://schemas.microsoft.com/office/drawing/2014/main" id="{25BEAA7B-A89A-A04A-9925-AC215CE30F2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800" y="5697472"/>
            <a:ext cx="758434" cy="365126"/>
          </a:xfrm>
          <a:prstGeom prst="rect">
            <a:avLst/>
          </a:prstGeom>
        </p:spPr>
        <p:txBody>
          <a:bodyPr anchor="t"/>
          <a:lstStyle>
            <a:lvl1pPr algn="l">
              <a:buClr>
                <a:schemeClr val="tx2"/>
              </a:buClr>
              <a:buFont typeface="Wingdings" pitchFamily="2" charset="2"/>
              <a:buNone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VIII</a:t>
            </a:r>
          </a:p>
        </p:txBody>
      </p:sp>
      <p:sp>
        <p:nvSpPr>
          <p:cNvPr id="60" name="Textplatzhalter 12">
            <a:extLst>
              <a:ext uri="{FF2B5EF4-FFF2-40B4-BE49-F238E27FC236}">
                <a16:creationId xmlns:a16="http://schemas.microsoft.com/office/drawing/2014/main" id="{9B9B94EA-3BAA-284F-BD1D-2776B6778B5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344038" y="1869671"/>
            <a:ext cx="642569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61" name="Textplatzhalter 12">
            <a:extLst>
              <a:ext uri="{FF2B5EF4-FFF2-40B4-BE49-F238E27FC236}">
                <a16:creationId xmlns:a16="http://schemas.microsoft.com/office/drawing/2014/main" id="{7A9C7E7E-7575-E441-871C-E35D13D622A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344037" y="2416057"/>
            <a:ext cx="642570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62" name="Textplatzhalter 12">
            <a:extLst>
              <a:ext uri="{FF2B5EF4-FFF2-40B4-BE49-F238E27FC236}">
                <a16:creationId xmlns:a16="http://schemas.microsoft.com/office/drawing/2014/main" id="{36437B73-B5B1-1241-8E04-D2B6B5D26E5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44035" y="2962443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63" name="Textplatzhalter 12">
            <a:extLst>
              <a:ext uri="{FF2B5EF4-FFF2-40B4-BE49-F238E27FC236}">
                <a16:creationId xmlns:a16="http://schemas.microsoft.com/office/drawing/2014/main" id="{F400FAD4-CE41-E44E-88CD-2491BCB5B88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44035" y="3508829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64" name="Textplatzhalter 12">
            <a:extLst>
              <a:ext uri="{FF2B5EF4-FFF2-40B4-BE49-F238E27FC236}">
                <a16:creationId xmlns:a16="http://schemas.microsoft.com/office/drawing/2014/main" id="{A06B5ADE-F3C4-6E49-8792-8377622CCCD6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344035" y="4055215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65" name="Textplatzhalter 12">
            <a:extLst>
              <a:ext uri="{FF2B5EF4-FFF2-40B4-BE49-F238E27FC236}">
                <a16:creationId xmlns:a16="http://schemas.microsoft.com/office/drawing/2014/main" id="{25280A77-9EB4-FE4B-8BA5-15622B3FE1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344035" y="4601601"/>
            <a:ext cx="642571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66" name="Textplatzhalter 12">
            <a:extLst>
              <a:ext uri="{FF2B5EF4-FFF2-40B4-BE49-F238E27FC236}">
                <a16:creationId xmlns:a16="http://schemas.microsoft.com/office/drawing/2014/main" id="{8EAB6284-4F3F-C54F-A011-17F1DD672C9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344035" y="5147987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67" name="Textplatzhalter 12">
            <a:extLst>
              <a:ext uri="{FF2B5EF4-FFF2-40B4-BE49-F238E27FC236}">
                <a16:creationId xmlns:a16="http://schemas.microsoft.com/office/drawing/2014/main" id="{854EDE26-CBDF-9F45-A9A4-ACDE84142F7E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344038" y="5694376"/>
            <a:ext cx="642572" cy="365126"/>
          </a:xfrm>
          <a:prstGeom prst="rect">
            <a:avLst/>
          </a:prstGeom>
        </p:spPr>
        <p:txBody>
          <a:bodyPr anchor="t"/>
          <a:lstStyle>
            <a:lvl1pPr algn="r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pic>
        <p:nvPicPr>
          <p:cNvPr id="30" name="Grafik 29">
            <a:extLst>
              <a:ext uri="{FF2B5EF4-FFF2-40B4-BE49-F238E27FC236}">
                <a16:creationId xmlns:a16="http://schemas.microsoft.com/office/drawing/2014/main" id="{B0EB4010-63D5-4044-99BD-6F8B8838D2A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6250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38" name="Textplatzhalter 11">
            <a:extLst>
              <a:ext uri="{FF2B5EF4-FFF2-40B4-BE49-F238E27FC236}">
                <a16:creationId xmlns:a16="http://schemas.microsoft.com/office/drawing/2014/main" id="{4A0923F3-F5BE-D145-B265-9C33EB75C1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D7C3412-7735-7247-91A1-A2611C5024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1052160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17B116D-F8DB-4F46-B183-974075F5AE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49EB514-20AB-FF4A-8B52-57D650FE98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201" y="2088001"/>
            <a:ext cx="10517998" cy="398887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4C57A9C-062D-3E47-96C7-BA97A006137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324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17B116D-F8DB-4F46-B183-974075F5AE5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C49EB514-20AB-FF4A-8B52-57D650FE989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5201" y="1763486"/>
            <a:ext cx="10517998" cy="431339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sz="1700">
                <a:solidFill>
                  <a:schemeClr val="bg2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93F7D60-30CD-284D-95B8-3D61C4F04AB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ACECC83C-E339-DD4A-AD39-385669C1DA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CFE49D4F-7A10-D840-B6E7-16AE451E55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0764429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884E593-828D-7D41-B9D2-3802E43B35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2088000"/>
            <a:ext cx="5121731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51AAE0D2-3733-1B44-90D0-9C9CBF81DC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5122105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3DE5B0BD-F168-F346-9878-1B08AAC70F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6794" y="2088000"/>
            <a:ext cx="5096180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471A7698-9157-5149-A99F-4AE18461277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6794" y="1772816"/>
            <a:ext cx="509618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9DDE15-0F1C-5C4F-9DC6-58E0E26F7ED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0896B2AC-D0B8-5D46-9667-E9241EE96C5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F2EDF365-DFB3-4A47-8D88-6962B843D1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76308D57-AABC-624C-96E3-4D073C59AF7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1673577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884E593-828D-7D41-B9D2-3802E43B35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773044"/>
            <a:ext cx="5121731" cy="4303836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342900" indent="-3429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3DE5B0BD-F168-F346-9878-1B08AAC70FD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256794" y="1773044"/>
            <a:ext cx="5096180" cy="4303836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49DDE15-0F1C-5C4F-9DC6-58E0E26F7ED4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E207D126-92AC-CA4B-8CF9-3AC1CA07030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96338D0D-3480-B54C-BD2A-342FFD54BF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B10476A5-6682-394F-91EA-F3F1D28BA6C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507144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7342000-CD4C-C444-8003-5C512809321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0DB802C-75C1-FE41-BD37-344F0273611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6" name="Titel 1">
            <a:extLst>
              <a:ext uri="{FF2B5EF4-FFF2-40B4-BE49-F238E27FC236}">
                <a16:creationId xmlns:a16="http://schemas.microsoft.com/office/drawing/2014/main" id="{8582CE6E-AB27-5341-A202-06C95C11EF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7" name="Textplatzhalter 11">
            <a:extLst>
              <a:ext uri="{FF2B5EF4-FFF2-40B4-BE49-F238E27FC236}">
                <a16:creationId xmlns:a16="http://schemas.microsoft.com/office/drawing/2014/main" id="{BF84FD7B-3524-BD43-8776-249C721253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1363571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1.5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4807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2088001"/>
            <a:ext cx="4868969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198237BD-4FFA-A64F-940E-BAEEEFCB3A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486896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D086832-37BB-B34B-AC04-810CF03A69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D1AA9362-B534-794B-BA20-976784F6B1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27C14BF1-D0C3-6646-AB64-31F6F66944F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484995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LIDE_RED">
    <p:bg>
      <p:bgPr>
        <a:solidFill>
          <a:schemeClr val="tx2">
            <a:alpha val="9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2A77DB7E-E139-7542-BCA9-1542BD0F501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  <p:sp>
        <p:nvSpPr>
          <p:cNvPr id="7" name="Titelplatzhalter 1">
            <a:extLst>
              <a:ext uri="{FF2B5EF4-FFF2-40B4-BE49-F238E27FC236}">
                <a16:creationId xmlns:a16="http://schemas.microsoft.com/office/drawing/2014/main" id="{CE778C7D-267C-3F44-9ECF-1822E2B83C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74840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ADDRESSEE</a:t>
            </a:r>
            <a:endParaRPr lang="en-US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6D617830-E48B-FB4D-B605-CFA75392A56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5073967"/>
            <a:ext cx="10515600" cy="100877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UR OFFER</a:t>
            </a:r>
          </a:p>
          <a:p>
            <a:pPr lvl="0"/>
            <a:r>
              <a:rPr lang="de-DE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1275304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1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4807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757680"/>
            <a:ext cx="4868969" cy="431919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B6C22EDB-ECC2-DE45-A78B-E3D63F891E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BDC73A7F-AAD9-524F-B6C5-40E110564F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28011C9F-B7BC-9F41-9208-2B3579FD284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5751698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IMAGE_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013555" y="1940416"/>
            <a:ext cx="5252439" cy="413646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7B035971-CE52-8F47-BD3A-A27F21AC8C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200" y="1838960"/>
            <a:ext cx="4868969" cy="423791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EDB646C-FB9E-2D43-94C9-8A49B2F85D9B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7D969DA-8248-A043-AC61-28FC33BBF7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406781B2-98DC-0E48-9F1F-F59BC23E6E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9" name="Textplatzhalter 11">
            <a:extLst>
              <a:ext uri="{FF2B5EF4-FFF2-40B4-BE49-F238E27FC236}">
                <a16:creationId xmlns:a16="http://schemas.microsoft.com/office/drawing/2014/main" id="{612F4528-FA41-364A-9767-F1A35D74C4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97165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FULL_1.5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AE28A11F-6254-DB4A-B2C9-DF9F065812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0DE76F6-585A-8044-BD62-33502C1CD8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7BC45803-8784-964C-AE4A-E387D83EC07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5200" y="1772816"/>
            <a:ext cx="525719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082E61B-7C4D-0842-BCF9-0C6A974323D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2088001"/>
            <a:ext cx="5257198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A222826-39CE-084F-BFBA-C665FFFA38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158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IMAGE_FULL_1.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A97A5C3-A93D-8B4B-BF45-AA7D96A823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199" y="1757680"/>
            <a:ext cx="5257199" cy="431919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7D6B38E-A7AE-7442-8D46-4E5B858ADC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65DB5AA0-5538-9240-A43F-1FA5CDF56D5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6B0EAB06-DB12-AD44-8617-76B341EE59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39158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_IMAGE_FULL_1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479823" y="0"/>
            <a:ext cx="5712178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BA97A5C3-A93D-8B4B-BF45-AA7D96A8230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5199" y="1828800"/>
            <a:ext cx="5257199" cy="424807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AA92952C-CB9B-3A43-89ED-78015A8A7D8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3540B0A5-4D14-0C42-A2CF-AD8AB8E4CA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801" y="1069274"/>
            <a:ext cx="5257199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0" name="Titel 2">
            <a:extLst>
              <a:ext uri="{FF2B5EF4-FFF2-40B4-BE49-F238E27FC236}">
                <a16:creationId xmlns:a16="http://schemas.microsoft.com/office/drawing/2014/main" id="{056408DE-6836-1343-8CE7-6C9864ACB4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5257199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7920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WHI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F4688833-9B8E-6D44-9009-878E2167886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5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2357D714-ABF5-654D-A74D-8CF328EA08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1051756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A0506E49-85D2-2E46-A276-9BAB13BEB9DC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D1F5AA4-FDD7-6045-A84F-8120056F647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Inhaltsplatzhalter 6">
            <a:extLst>
              <a:ext uri="{FF2B5EF4-FFF2-40B4-BE49-F238E27FC236}">
                <a16:creationId xmlns:a16="http://schemas.microsoft.com/office/drawing/2014/main" id="{C2102385-7D27-9E41-83B5-00B298033324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28048" y="2229925"/>
            <a:ext cx="10331270" cy="3852820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lang="de-DE" sz="17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5608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WHI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4">
            <a:extLst>
              <a:ext uri="{FF2B5EF4-FFF2-40B4-BE49-F238E27FC236}">
                <a16:creationId xmlns:a16="http://schemas.microsoft.com/office/drawing/2014/main" id="{A1125165-E996-ED44-9C2A-28115C90322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511898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2C3860D9-0C73-1144-81FD-150AE021747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53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30" name="Foliennummernplatzhalter 8">
            <a:extLst>
              <a:ext uri="{FF2B5EF4-FFF2-40B4-BE49-F238E27FC236}">
                <a16:creationId xmlns:a16="http://schemas.microsoft.com/office/drawing/2014/main" id="{433BB5AB-9C8B-4B4B-9C59-5F131437133F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10956843" y="6398000"/>
            <a:ext cx="396355" cy="365125"/>
          </a:xfrm>
        </p:spPr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B78B87B-DF50-BD4B-B3BD-25DCCAAD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3" name="Inhaltsplatzhalter 6">
            <a:extLst>
              <a:ext uri="{FF2B5EF4-FFF2-40B4-BE49-F238E27FC236}">
                <a16:creationId xmlns:a16="http://schemas.microsoft.com/office/drawing/2014/main" id="{85FD0CCF-04BD-0844-B49B-1BCA6D28B38C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30364" y="2229924"/>
            <a:ext cx="4916867" cy="3846955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4" name="Inhaltsplatzhalter 6">
            <a:extLst>
              <a:ext uri="{FF2B5EF4-FFF2-40B4-BE49-F238E27FC236}">
                <a16:creationId xmlns:a16="http://schemas.microsoft.com/office/drawing/2014/main" id="{D4BA06E8-B2D0-6A44-8444-CBDE55E3B787}"/>
              </a:ext>
            </a:extLst>
          </p:cNvPr>
          <p:cNvSpPr>
            <a:spLocks noGrp="1"/>
          </p:cNvSpPr>
          <p:nvPr>
            <p:ph sz="quarter" idx="29" hasCustomPrompt="1"/>
          </p:nvPr>
        </p:nvSpPr>
        <p:spPr>
          <a:xfrm>
            <a:off x="6344771" y="2229924"/>
            <a:ext cx="4916867" cy="3846955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2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>
                <a:solidFill>
                  <a:schemeClr val="bg2"/>
                </a:solidFill>
              </a:defRPr>
            </a:lvl2pPr>
            <a:lvl3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lang="de-DE" sz="17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3600" indent="-363600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defRPr lang="en-US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A488BD9C-803A-7147-8130-31F25561BF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641ED37D-3D86-0541-BA70-FF42193312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5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1845030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RED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75CACACB-E126-1B47-BAE9-647CEDDB5E6D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928047" y="2229925"/>
            <a:ext cx="10331271" cy="3858396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7F7995C-8617-0E4E-BF19-CD49032B3D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3DE5FB-FD6A-0A48-ACE8-CD534C14C00A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028F6198-E829-8341-8ECD-7C413895765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5200" y="1864800"/>
            <a:ext cx="10521600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C89A000-07A3-F54D-AB57-199E152D948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286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MEDIA_RED_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2DBF302B-0A29-794A-824F-53F57770097A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936388" y="2229925"/>
            <a:ext cx="4923543" cy="385282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CDA7F40-DB35-7A4C-8B4D-CFFCC8EFD0C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CF800B80-BBD1-284D-A48B-71803E0EA54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5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16" name="Textplatzhalter 4">
            <a:extLst>
              <a:ext uri="{FF2B5EF4-FFF2-40B4-BE49-F238E27FC236}">
                <a16:creationId xmlns:a16="http://schemas.microsoft.com/office/drawing/2014/main" id="{6E886D0C-A8B4-3244-AE8F-86BB8F8ADA2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53201" y="1864800"/>
            <a:ext cx="5099788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20" name="Inhaltsplatzhalter 7">
            <a:extLst>
              <a:ext uri="{FF2B5EF4-FFF2-40B4-BE49-F238E27FC236}">
                <a16:creationId xmlns:a16="http://schemas.microsoft.com/office/drawing/2014/main" id="{ECA95D00-86A1-B640-91C7-D98A550A1564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6342450" y="2229925"/>
            <a:ext cx="4923544" cy="3852821"/>
          </a:xfrm>
          <a:prstGeom prst="rect">
            <a:avLst/>
          </a:prstGeom>
        </p:spPr>
        <p:txBody>
          <a:bodyPr lIns="0" rIns="0"/>
          <a:lstStyle>
            <a:lvl1pPr marL="0" indent="0">
              <a:lnSpc>
                <a:spcPct val="150000"/>
              </a:lnSpc>
              <a:buNone/>
              <a:defRPr sz="1700">
                <a:solidFill>
                  <a:schemeClr val="bg1"/>
                </a:solidFill>
              </a:defRPr>
            </a:lvl1pPr>
            <a:lvl2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2pPr>
            <a:lvl3pPr marL="360000" indent="-180000">
              <a:lnSpc>
                <a:spcPct val="150000"/>
              </a:lnSpc>
              <a:buFont typeface="Wingdings" pitchFamily="2" charset="2"/>
              <a:buChar char="§"/>
              <a:defRPr>
                <a:solidFill>
                  <a:schemeClr val="bg1"/>
                </a:solidFill>
              </a:defRPr>
            </a:lvl3pPr>
            <a:lvl4pPr marL="540000" indent="-180000">
              <a:lnSpc>
                <a:spcPct val="150000"/>
              </a:lnSpc>
              <a:buFont typeface="Wingdings" pitchFamily="2" charset="2"/>
              <a:buChar char="§"/>
              <a:defRPr sz="1700">
                <a:solidFill>
                  <a:schemeClr val="bg1"/>
                </a:solidFill>
              </a:defRPr>
            </a:lvl4pPr>
            <a:lvl5pPr marL="363600" indent="-363600">
              <a:lnSpc>
                <a:spcPct val="150000"/>
              </a:lnSpc>
              <a:buFont typeface="+mj-lt"/>
              <a:buAutoNum type="arabi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4E3D51B-2315-FD4E-9592-7AA092B18E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060E5347-8B65-BE46-B585-6991DBBC4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38BF0AEC-5A60-8343-87FE-85630C1F421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32729486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-1"/>
            <a:ext cx="12192001" cy="5172159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FEFF62FD-3002-FA40-81E9-3A66E470231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8797" y="5445760"/>
            <a:ext cx="10514401" cy="631119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700">
                <a:solidFill>
                  <a:schemeClr val="tx2"/>
                </a:solidFill>
              </a:defRPr>
            </a:lvl1pPr>
            <a:lvl2pPr marL="17463" indent="0">
              <a:buNone/>
              <a:tabLst/>
              <a:defRPr sz="1700">
                <a:solidFill>
                  <a:schemeClr val="bg2"/>
                </a:solidFill>
                <a:latin typeface="+mn-lt"/>
              </a:defRPr>
            </a:lvl2pPr>
            <a:lvl3pPr marL="18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3pPr>
            <a:lvl4pPr marL="36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4pPr>
            <a:lvl5pPr marL="540000" indent="-180000">
              <a:buClr>
                <a:schemeClr val="tx2"/>
              </a:buClr>
              <a:buFont typeface="Wingdings" pitchFamily="2" charset="2"/>
              <a:buChar char="§"/>
              <a:tabLst/>
              <a:defRPr sz="170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A7D1EB-0448-1E4E-90B5-159532E14C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090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3F335040-8AB7-E94A-8E3A-71A9CD44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BAB1F598-146F-9848-ABEF-FAA1A5BC6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E35203F4-E35C-0442-ABBB-6422AEB60596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1B527EB5-A982-6347-B4A1-3908D7E0DD22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htwinkliges Dreieck 11">
              <a:extLst>
                <a:ext uri="{FF2B5EF4-FFF2-40B4-BE49-F238E27FC236}">
                  <a16:creationId xmlns:a16="http://schemas.microsoft.com/office/drawing/2014/main" id="{E0DF4C61-45F5-6446-AF5A-3E2682B98354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D7CE01AA-D8E8-B24C-87F4-4709E2E2315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42960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0" y="1940416"/>
            <a:ext cx="12192001" cy="4917583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53349F95-6B1D-014A-9A44-8536DBC70DD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675BA-E439-0F4B-B5DE-D9D2988B14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09331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799" y="1865352"/>
            <a:ext cx="10512085" cy="4211527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3600" b="0" i="1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2B8DED7-7B70-D143-AFB3-4231FACFE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250BB4E6-1C09-2E41-AD10-43638DBD885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4" name="Titel 2">
            <a:extLst>
              <a:ext uri="{FF2B5EF4-FFF2-40B4-BE49-F238E27FC236}">
                <a16:creationId xmlns:a16="http://schemas.microsoft.com/office/drawing/2014/main" id="{29D636A9-1D54-B641-B8F0-30BB98DBA4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2255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799" y="1865352"/>
            <a:ext cx="10512085" cy="4217394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3600" b="0" i="1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9C00E63-BC0D-624D-A8A2-0FA77E8529F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D411298-8A79-0843-96CD-6672D889067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BE1FE75C-94FA-9F46-9D25-775DBFB4AF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8D1194FD-57B4-9E49-9E26-130A151D2E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8801" y="1069274"/>
            <a:ext cx="10514397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9175239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599679" y="0"/>
            <a:ext cx="4592321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800" y="1069274"/>
            <a:ext cx="6364640" cy="5007605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2400" b="0" i="1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05E0BBB-1FDD-D14B-BCB2-07BEBA1FACF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8294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IMAGE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823FFA64-D9C6-E14D-9522-3C564B519C8B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7599679" y="0"/>
            <a:ext cx="4592321" cy="6858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A57D2FD-3BE8-CF48-8D2F-8F527902FA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800" y="1069274"/>
            <a:ext cx="6364640" cy="5013472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2400" b="0" i="1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9525" indent="0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0" indent="0">
              <a:lnSpc>
                <a:spcPct val="150000"/>
              </a:lnSpc>
              <a:buClr>
                <a:schemeClr val="bg1"/>
              </a:buClr>
              <a:buFont typeface="Wingdings" pitchFamily="2" charset="2"/>
              <a:buNone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18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360000" indent="-180000">
              <a:lnSpc>
                <a:spcPct val="150000"/>
              </a:lnSpc>
              <a:buClr>
                <a:schemeClr val="bg1"/>
              </a:buClr>
              <a:buFont typeface="Wingdings" pitchFamily="2" charset="2"/>
              <a:buChar char="§"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3D51BBEE-880E-9F44-A065-70D5EE8976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00295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24DB25-5079-3B47-B924-B2E79D7F76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/>
              <a:t>NOME COGNOME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7CCD9C3-D45A-0044-8C6C-1EBD62E1E821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8B200C9B-6A78-7C46-9FF4-7A002DEDF8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1000" y="1866686"/>
            <a:ext cx="8424820" cy="525600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700" b="0" i="0" cap="none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6126594E-3076-9D49-9242-C21B776B3829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957287" y="1942105"/>
            <a:ext cx="1826345" cy="228706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1426EE19-D383-CE44-9C10-B6270CA54C8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26" name="Textplatzhalter 39">
            <a:extLst>
              <a:ext uri="{FF2B5EF4-FFF2-40B4-BE49-F238E27FC236}">
                <a16:creationId xmlns:a16="http://schemas.microsoft.com/office/drawing/2014/main" id="{897AF230-28B9-C44C-942F-128FB2706D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923520" y="2935617"/>
            <a:ext cx="4378411" cy="3147128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995E196-B0AC-E941-8C2C-D03D6C495539}"/>
              </a:ext>
            </a:extLst>
          </p:cNvPr>
          <p:cNvSpPr txBox="1"/>
          <p:nvPr userDrawn="1"/>
        </p:nvSpPr>
        <p:spPr>
          <a:xfrm>
            <a:off x="2921000" y="2601716"/>
            <a:ext cx="39070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7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28" name="Textplatzhalter 26">
            <a:extLst>
              <a:ext uri="{FF2B5EF4-FFF2-40B4-BE49-F238E27FC236}">
                <a16:creationId xmlns:a16="http://schemas.microsoft.com/office/drawing/2014/main" id="{556D3AB2-161C-604C-AFE1-5C25A64A39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47269" y="4305463"/>
            <a:ext cx="1935972" cy="71167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>
              <a:lnSpc>
                <a:spcPct val="12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lnSpc>
                <a:spcPct val="100000"/>
              </a:lnSpc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mpany</a:t>
            </a:r>
          </a:p>
          <a:p>
            <a:pPr lvl="0"/>
            <a:r>
              <a:rPr lang="en-US" dirty="0"/>
              <a:t>Street</a:t>
            </a:r>
          </a:p>
          <a:p>
            <a:pPr lvl="0"/>
            <a:r>
              <a:rPr lang="en-US" dirty="0"/>
              <a:t>ZIP City | Country</a:t>
            </a:r>
          </a:p>
        </p:txBody>
      </p:sp>
      <p:sp>
        <p:nvSpPr>
          <p:cNvPr id="29" name="Textplatzhalter 31">
            <a:extLst>
              <a:ext uri="{FF2B5EF4-FFF2-40B4-BE49-F238E27FC236}">
                <a16:creationId xmlns:a16="http://schemas.microsoft.com/office/drawing/2014/main" id="{47264D40-A467-CE4D-8DFB-51AD8C2DE6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46107" y="4995144"/>
            <a:ext cx="1737133" cy="270474"/>
          </a:xfrm>
          <a:prstGeom prst="rect">
            <a:avLst/>
          </a:prstGeom>
        </p:spPr>
        <p:txBody>
          <a:bodyPr anchor="t" anchorCtr="0"/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9A133A94-2468-3A4D-9C00-D98CB73A574E}"/>
              </a:ext>
            </a:extLst>
          </p:cNvPr>
          <p:cNvSpPr txBox="1"/>
          <p:nvPr userDrawn="1"/>
        </p:nvSpPr>
        <p:spPr>
          <a:xfrm>
            <a:off x="860906" y="4981302"/>
            <a:ext cx="3182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D28D4273-D49D-F841-9866-5E8AF8E8C57B}"/>
              </a:ext>
            </a:extLst>
          </p:cNvPr>
          <p:cNvSpPr txBox="1"/>
          <p:nvPr userDrawn="1"/>
        </p:nvSpPr>
        <p:spPr>
          <a:xfrm>
            <a:off x="860907" y="5161309"/>
            <a:ext cx="31825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35" name="Textplatzhalter 31">
            <a:extLst>
              <a:ext uri="{FF2B5EF4-FFF2-40B4-BE49-F238E27FC236}">
                <a16:creationId xmlns:a16="http://schemas.microsoft.com/office/drawing/2014/main" id="{9CBFD42E-36BE-4F4D-B5DB-CAC8845F4EC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45948" y="5174750"/>
            <a:ext cx="1737133" cy="270474"/>
          </a:xfrm>
          <a:prstGeom prst="rect">
            <a:avLst/>
          </a:prstGeom>
        </p:spPr>
        <p:txBody>
          <a:bodyPr anchor="t" anchorCtr="0"/>
          <a:lstStyle>
            <a:lvl1pPr marL="0">
              <a:lnSpc>
                <a:spcPct val="100000"/>
              </a:lnSpc>
              <a:spcBef>
                <a:spcPts val="0"/>
              </a:spcBef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cxnSp>
        <p:nvCxnSpPr>
          <p:cNvPr id="42" name="Gerade Verbindung 41">
            <a:extLst>
              <a:ext uri="{FF2B5EF4-FFF2-40B4-BE49-F238E27FC236}">
                <a16:creationId xmlns:a16="http://schemas.microsoft.com/office/drawing/2014/main" id="{C88673F6-BFFB-534D-A0A9-CE11A1107D80}"/>
              </a:ext>
            </a:extLst>
          </p:cNvPr>
          <p:cNvCxnSpPr>
            <a:cxnSpLocks/>
          </p:cNvCxnSpPr>
          <p:nvPr userDrawn="1"/>
        </p:nvCxnSpPr>
        <p:spPr>
          <a:xfrm>
            <a:off x="3027145" y="2492896"/>
            <a:ext cx="8326053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39">
            <a:extLst>
              <a:ext uri="{FF2B5EF4-FFF2-40B4-BE49-F238E27FC236}">
                <a16:creationId xmlns:a16="http://schemas.microsoft.com/office/drawing/2014/main" id="{E1D85231-FC0D-924B-BD3D-3987D9F319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442211" y="2936688"/>
            <a:ext cx="3910987" cy="3146057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List Career Steps/Key Achievements</a:t>
            </a:r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FC6FD956-97F2-ED46-B056-157339A2B773}"/>
              </a:ext>
            </a:extLst>
          </p:cNvPr>
          <p:cNvSpPr txBox="1"/>
          <p:nvPr userDrawn="1"/>
        </p:nvSpPr>
        <p:spPr>
          <a:xfrm>
            <a:off x="7439691" y="2602788"/>
            <a:ext cx="390709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Bef>
                <a:spcPts val="1000"/>
              </a:spcBef>
            </a:pPr>
            <a:r>
              <a:rPr lang="en-US" sz="1700" b="1" i="0" dirty="0">
                <a:solidFill>
                  <a:schemeClr val="tx2"/>
                </a:solidFill>
                <a:latin typeface="Verdana" panose="020B0604030504040204" pitchFamily="34" charset="0"/>
              </a:rPr>
              <a:t>ALTRE INFORMAZIONI</a:t>
            </a:r>
          </a:p>
        </p:txBody>
      </p:sp>
    </p:spTree>
    <p:extLst>
      <p:ext uri="{BB962C8B-B14F-4D97-AF65-F5344CB8AC3E}">
        <p14:creationId xmlns:p14="http://schemas.microsoft.com/office/powerpoint/2010/main" val="2818937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A05B03A6-145B-7D49-AB63-A2522894A0E0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34" name="Textplatzhalter 9">
            <a:extLst>
              <a:ext uri="{FF2B5EF4-FFF2-40B4-BE49-F238E27FC236}">
                <a16:creationId xmlns:a16="http://schemas.microsoft.com/office/drawing/2014/main" id="{1B976645-BCE3-0949-8565-222D1AD1CEB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338894" y="1873608"/>
            <a:ext cx="3709567" cy="524224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2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39" name="Textplatzhalter 26">
            <a:extLst>
              <a:ext uri="{FF2B5EF4-FFF2-40B4-BE49-F238E27FC236}">
                <a16:creationId xmlns:a16="http://schemas.microsoft.com/office/drawing/2014/main" id="{844C98AE-D01C-A44E-8C09-AA89B9D1E7D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346291" y="4807487"/>
            <a:ext cx="3702170" cy="704882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ddress</a:t>
            </a:r>
          </a:p>
          <a:p>
            <a:pPr lvl="1"/>
            <a:r>
              <a:rPr lang="en-US" dirty="0"/>
              <a:t>Street</a:t>
            </a:r>
          </a:p>
          <a:p>
            <a:pPr lvl="1"/>
            <a:r>
              <a:rPr lang="en-US" dirty="0"/>
              <a:t>Postal Code City | Country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9DD4B838-7A47-694C-8FCC-A3994CB2B2D7}"/>
              </a:ext>
            </a:extLst>
          </p:cNvPr>
          <p:cNvSpPr txBox="1"/>
          <p:nvPr userDrawn="1"/>
        </p:nvSpPr>
        <p:spPr>
          <a:xfrm>
            <a:off x="2338975" y="5527439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88E6BAE-EEBD-F046-9AC3-18AB30D34F57}"/>
              </a:ext>
            </a:extLst>
          </p:cNvPr>
          <p:cNvSpPr txBox="1"/>
          <p:nvPr userDrawn="1"/>
        </p:nvSpPr>
        <p:spPr>
          <a:xfrm>
            <a:off x="2338974" y="5739456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64" name="Textplatzhalter 39">
            <a:extLst>
              <a:ext uri="{FF2B5EF4-FFF2-40B4-BE49-F238E27FC236}">
                <a16:creationId xmlns:a16="http://schemas.microsoft.com/office/drawing/2014/main" id="{C133A9D8-A9F2-3943-8C5C-5ECC318CE17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2346291" y="2708920"/>
            <a:ext cx="3702354" cy="1372227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A9C1D91F-F2BB-FE4E-A94D-C9F955D3F2E3}"/>
              </a:ext>
            </a:extLst>
          </p:cNvPr>
          <p:cNvSpPr txBox="1"/>
          <p:nvPr userDrawn="1"/>
        </p:nvSpPr>
        <p:spPr>
          <a:xfrm>
            <a:off x="2346291" y="2436352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15825ACB-6E44-3A4D-BB68-5E70C9A4182D}"/>
              </a:ext>
            </a:extLst>
          </p:cNvPr>
          <p:cNvSpPr txBox="1"/>
          <p:nvPr userDrawn="1"/>
        </p:nvSpPr>
        <p:spPr>
          <a:xfrm>
            <a:off x="2339999" y="4130638"/>
            <a:ext cx="37070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LINGUE</a:t>
            </a:r>
          </a:p>
        </p:txBody>
      </p:sp>
      <p:sp>
        <p:nvSpPr>
          <p:cNvPr id="67" name="Textplatzhalter 43">
            <a:extLst>
              <a:ext uri="{FF2B5EF4-FFF2-40B4-BE49-F238E27FC236}">
                <a16:creationId xmlns:a16="http://schemas.microsoft.com/office/drawing/2014/main" id="{50751FB3-F7F6-4146-A0D8-F34B3D8B270C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2346291" y="4404739"/>
            <a:ext cx="3702203" cy="35117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Insert Languages</a:t>
            </a:r>
          </a:p>
        </p:txBody>
      </p:sp>
      <p:sp>
        <p:nvSpPr>
          <p:cNvPr id="69" name="Textplatzhalter 7">
            <a:extLst>
              <a:ext uri="{FF2B5EF4-FFF2-40B4-BE49-F238E27FC236}">
                <a16:creationId xmlns:a16="http://schemas.microsoft.com/office/drawing/2014/main" id="{4F200241-8CE3-7A4F-B38C-D90D556FEC8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8800" y="540000"/>
            <a:ext cx="5204648" cy="524223"/>
          </a:xfrm>
          <a:prstGeom prst="rect">
            <a:avLst/>
          </a:prstGeom>
        </p:spPr>
        <p:txBody>
          <a:bodyPr/>
          <a:lstStyle>
            <a:lvl1pPr>
              <a:buNone/>
              <a:defRPr sz="2400" b="0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b="1" dirty="0"/>
              <a:t>NOME COGNOME</a:t>
            </a:r>
            <a:endParaRPr lang="en-US" dirty="0"/>
          </a:p>
        </p:txBody>
      </p:sp>
      <p:sp>
        <p:nvSpPr>
          <p:cNvPr id="70" name="Bildplatzhalter 6">
            <a:extLst>
              <a:ext uri="{FF2B5EF4-FFF2-40B4-BE49-F238E27FC236}">
                <a16:creationId xmlns:a16="http://schemas.microsoft.com/office/drawing/2014/main" id="{861F261E-07F3-D141-96B3-61E1F4572CF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54339" y="1941456"/>
            <a:ext cx="1263752" cy="1515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1" name="Textplatzhalter 31">
            <a:extLst>
              <a:ext uri="{FF2B5EF4-FFF2-40B4-BE49-F238E27FC236}">
                <a16:creationId xmlns:a16="http://schemas.microsoft.com/office/drawing/2014/main" id="{7777CD19-76E1-AC45-9895-DF4F0980ADB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2573803" y="5557208"/>
            <a:ext cx="3465892" cy="24723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122" name="Textplatzhalter 34">
            <a:extLst>
              <a:ext uri="{FF2B5EF4-FFF2-40B4-BE49-F238E27FC236}">
                <a16:creationId xmlns:a16="http://schemas.microsoft.com/office/drawing/2014/main" id="{3C2F278F-65CF-1C4A-9AA2-6699C4833095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2573997" y="5770586"/>
            <a:ext cx="3465698" cy="280817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sp>
        <p:nvSpPr>
          <p:cNvPr id="155" name="Textplatzhalter 9">
            <a:extLst>
              <a:ext uri="{FF2B5EF4-FFF2-40B4-BE49-F238E27FC236}">
                <a16:creationId xmlns:a16="http://schemas.microsoft.com/office/drawing/2014/main" id="{336B44B2-7347-CB41-8ACE-54A5C2E0FDE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49125" y="1873608"/>
            <a:ext cx="3709567" cy="524224"/>
          </a:xfrm>
          <a:prstGeom prst="rect">
            <a:avLst/>
          </a:prstGeom>
        </p:spPr>
        <p:txBody>
          <a:bodyPr numCol="1"/>
          <a:lstStyle>
            <a:lvl1pPr marL="11113" indent="-11113">
              <a:buClr>
                <a:schemeClr val="tx2"/>
              </a:buClr>
              <a:buFont typeface="Wingdings" pitchFamily="2" charset="2"/>
              <a:buNone/>
              <a:tabLst/>
              <a:defRPr sz="12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/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/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/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/>
            </a:lvl5pPr>
          </a:lstStyle>
          <a:p>
            <a:pPr lvl="0"/>
            <a:r>
              <a:rPr lang="en-US" b="1" dirty="0"/>
              <a:t>Function | Position | Two Lines Possible</a:t>
            </a:r>
            <a:endParaRPr lang="en-US" dirty="0"/>
          </a:p>
        </p:txBody>
      </p:sp>
      <p:sp>
        <p:nvSpPr>
          <p:cNvPr id="156" name="Textplatzhalter 26">
            <a:extLst>
              <a:ext uri="{FF2B5EF4-FFF2-40B4-BE49-F238E27FC236}">
                <a16:creationId xmlns:a16="http://schemas.microsoft.com/office/drawing/2014/main" id="{145C0B4E-9BD9-0C4A-930B-BC12BA69964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7647756" y="4807487"/>
            <a:ext cx="3709534" cy="704882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Address</a:t>
            </a:r>
          </a:p>
          <a:p>
            <a:pPr lvl="1"/>
            <a:r>
              <a:rPr lang="en-US" dirty="0"/>
              <a:t>Street</a:t>
            </a:r>
          </a:p>
          <a:p>
            <a:pPr lvl="1"/>
            <a:r>
              <a:rPr lang="en-US" dirty="0"/>
              <a:t>Postal Code City | Country</a:t>
            </a:r>
          </a:p>
        </p:txBody>
      </p:sp>
      <p:sp>
        <p:nvSpPr>
          <p:cNvPr id="157" name="Textfeld 156">
            <a:extLst>
              <a:ext uri="{FF2B5EF4-FFF2-40B4-BE49-F238E27FC236}">
                <a16:creationId xmlns:a16="http://schemas.microsoft.com/office/drawing/2014/main" id="{478C4171-C6A7-DC47-AF12-0195EF250FA8}"/>
              </a:ext>
            </a:extLst>
          </p:cNvPr>
          <p:cNvSpPr txBox="1"/>
          <p:nvPr userDrawn="1"/>
        </p:nvSpPr>
        <p:spPr>
          <a:xfrm>
            <a:off x="7655064" y="5527439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T</a:t>
            </a:r>
          </a:p>
        </p:txBody>
      </p:sp>
      <p:sp>
        <p:nvSpPr>
          <p:cNvPr id="158" name="Textfeld 157">
            <a:extLst>
              <a:ext uri="{FF2B5EF4-FFF2-40B4-BE49-F238E27FC236}">
                <a16:creationId xmlns:a16="http://schemas.microsoft.com/office/drawing/2014/main" id="{922B0D4C-5129-7148-BE41-A5079023FF2A}"/>
              </a:ext>
            </a:extLst>
          </p:cNvPr>
          <p:cNvSpPr txBox="1"/>
          <p:nvPr userDrawn="1"/>
        </p:nvSpPr>
        <p:spPr>
          <a:xfrm>
            <a:off x="7655063" y="5733828"/>
            <a:ext cx="2106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E</a:t>
            </a:r>
          </a:p>
        </p:txBody>
      </p:sp>
      <p:sp>
        <p:nvSpPr>
          <p:cNvPr id="159" name="Textplatzhalter 39">
            <a:extLst>
              <a:ext uri="{FF2B5EF4-FFF2-40B4-BE49-F238E27FC236}">
                <a16:creationId xmlns:a16="http://schemas.microsoft.com/office/drawing/2014/main" id="{8EBF9408-ABDE-374A-B141-0B773828E13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649454" y="2708920"/>
            <a:ext cx="3709718" cy="1372227"/>
          </a:xfrm>
          <a:prstGeom prst="rect">
            <a:avLst/>
          </a:prstGeom>
        </p:spPr>
        <p:txBody>
          <a:bodyPr/>
          <a:lstStyle>
            <a:lvl1pPr>
              <a:buClr>
                <a:schemeClr val="tx2"/>
              </a:buClr>
              <a:buFont typeface="Wingdings" pitchFamily="2" charset="2"/>
              <a:buChar char="§"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List max. 5 areas of experience</a:t>
            </a:r>
          </a:p>
        </p:txBody>
      </p:sp>
      <p:sp>
        <p:nvSpPr>
          <p:cNvPr id="160" name="Textfeld 159">
            <a:extLst>
              <a:ext uri="{FF2B5EF4-FFF2-40B4-BE49-F238E27FC236}">
                <a16:creationId xmlns:a16="http://schemas.microsoft.com/office/drawing/2014/main" id="{23C2932A-5C05-3245-9DE4-396E7C3ABF55}"/>
              </a:ext>
            </a:extLst>
          </p:cNvPr>
          <p:cNvSpPr txBox="1"/>
          <p:nvPr userDrawn="1"/>
        </p:nvSpPr>
        <p:spPr>
          <a:xfrm>
            <a:off x="7650231" y="2436352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FOCUS</a:t>
            </a:r>
          </a:p>
        </p:txBody>
      </p:sp>
      <p:sp>
        <p:nvSpPr>
          <p:cNvPr id="161" name="Textfeld 160">
            <a:extLst>
              <a:ext uri="{FF2B5EF4-FFF2-40B4-BE49-F238E27FC236}">
                <a16:creationId xmlns:a16="http://schemas.microsoft.com/office/drawing/2014/main" id="{CE817A04-8E2C-8D4A-9221-C6B7740999E2}"/>
              </a:ext>
            </a:extLst>
          </p:cNvPr>
          <p:cNvSpPr txBox="1"/>
          <p:nvPr userDrawn="1"/>
        </p:nvSpPr>
        <p:spPr>
          <a:xfrm>
            <a:off x="7649212" y="4136196"/>
            <a:ext cx="37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="1" i="0" dirty="0">
                <a:solidFill>
                  <a:schemeClr val="tx2"/>
                </a:solidFill>
                <a:latin typeface="Verdana" panose="020B0604030504040204" pitchFamily="34" charset="0"/>
              </a:rPr>
              <a:t>LINGUE</a:t>
            </a:r>
          </a:p>
        </p:txBody>
      </p:sp>
      <p:sp>
        <p:nvSpPr>
          <p:cNvPr id="162" name="Textplatzhalter 43">
            <a:extLst>
              <a:ext uri="{FF2B5EF4-FFF2-40B4-BE49-F238E27FC236}">
                <a16:creationId xmlns:a16="http://schemas.microsoft.com/office/drawing/2014/main" id="{9460DBA5-72FC-8543-86A4-E3ACDF4F9F9E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7647756" y="4400977"/>
            <a:ext cx="3709567" cy="35117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Insert Languages</a:t>
            </a:r>
          </a:p>
        </p:txBody>
      </p:sp>
      <p:sp>
        <p:nvSpPr>
          <p:cNvPr id="163" name="Textplatzhalter 7">
            <a:extLst>
              <a:ext uri="{FF2B5EF4-FFF2-40B4-BE49-F238E27FC236}">
                <a16:creationId xmlns:a16="http://schemas.microsoft.com/office/drawing/2014/main" id="{E0246532-5EDB-7649-ABA9-246DA3B30E19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149031" y="540000"/>
            <a:ext cx="5204648" cy="524223"/>
          </a:xfrm>
          <a:prstGeom prst="rect">
            <a:avLst/>
          </a:prstGeom>
        </p:spPr>
        <p:txBody>
          <a:bodyPr/>
          <a:lstStyle>
            <a:lvl1pPr>
              <a:buNone/>
              <a:defRPr sz="2400" b="0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b="1" dirty="0"/>
              <a:t>NAME COGNOME</a:t>
            </a:r>
            <a:endParaRPr lang="en-US" dirty="0"/>
          </a:p>
        </p:txBody>
      </p:sp>
      <p:sp>
        <p:nvSpPr>
          <p:cNvPr id="164" name="Bildplatzhalter 6">
            <a:extLst>
              <a:ext uri="{FF2B5EF4-FFF2-40B4-BE49-F238E27FC236}">
                <a16:creationId xmlns:a16="http://schemas.microsoft.com/office/drawing/2014/main" id="{2BD3600D-F455-9742-995C-914D81BFF570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264570" y="1941455"/>
            <a:ext cx="1263752" cy="15158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65" name="Textplatzhalter 31">
            <a:extLst>
              <a:ext uri="{FF2B5EF4-FFF2-40B4-BE49-F238E27FC236}">
                <a16:creationId xmlns:a16="http://schemas.microsoft.com/office/drawing/2014/main" id="{C47A0030-E73B-EE41-99E0-76520AC53C3A}"/>
              </a:ext>
            </a:extLst>
          </p:cNvPr>
          <p:cNvSpPr>
            <a:spLocks noGrp="1"/>
          </p:cNvSpPr>
          <p:nvPr>
            <p:ph type="body" sz="quarter" idx="66" hasCustomPrompt="1"/>
          </p:nvPr>
        </p:nvSpPr>
        <p:spPr>
          <a:xfrm>
            <a:off x="7884034" y="5562035"/>
            <a:ext cx="3472786" cy="247230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+XXXXXXXXXX</a:t>
            </a:r>
          </a:p>
        </p:txBody>
      </p:sp>
      <p:sp>
        <p:nvSpPr>
          <p:cNvPr id="166" name="Textplatzhalter 34">
            <a:extLst>
              <a:ext uri="{FF2B5EF4-FFF2-40B4-BE49-F238E27FC236}">
                <a16:creationId xmlns:a16="http://schemas.microsoft.com/office/drawing/2014/main" id="{A53B30D6-95CB-D948-9C07-A4B7A441E3C8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7884228" y="5775204"/>
            <a:ext cx="3472592" cy="280817"/>
          </a:xfrm>
          <a:prstGeom prst="rect">
            <a:avLst/>
          </a:prstGeom>
        </p:spPr>
        <p:txBody>
          <a:bodyPr/>
          <a:lstStyle>
            <a:lvl1pPr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 err="1"/>
              <a:t>email@email.com</a:t>
            </a:r>
            <a:endParaRPr lang="en-US" dirty="0"/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890A2A71-CEA4-BB44-9863-1BDC673A4D3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2464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05B8BD6-1DA5-1046-9D8E-8B502060DB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38314" y="1560121"/>
            <a:ext cx="1395428" cy="1349149"/>
          </a:xfrm>
          <a:prstGeom prst="rect">
            <a:avLst/>
          </a:prstGeom>
        </p:spPr>
        <p:txBody>
          <a:bodyPr anchor="ctr"/>
          <a:lstStyle>
            <a:lvl1pPr algn="l">
              <a:buClr>
                <a:schemeClr val="tx2"/>
              </a:buClr>
              <a:buFont typeface="Wingdings" pitchFamily="2" charset="2"/>
              <a:buNone/>
              <a:defRPr sz="7200" b="1" i="0">
                <a:solidFill>
                  <a:schemeClr val="accent4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6B440EB4-87C1-7C42-AF0E-9FF0CA2854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816256" y="3247080"/>
            <a:ext cx="1536942" cy="1349149"/>
          </a:xfrm>
          <a:prstGeom prst="rect">
            <a:avLst/>
          </a:prstGeom>
        </p:spPr>
        <p:txBody>
          <a:bodyPr anchor="ctr"/>
          <a:lstStyle>
            <a:lvl1pPr algn="r">
              <a:buClr>
                <a:schemeClr val="tx2"/>
              </a:buClr>
              <a:buFont typeface="Wingdings" pitchFamily="2" charset="2"/>
              <a:buNone/>
              <a:defRPr sz="7200" b="1" i="0">
                <a:solidFill>
                  <a:schemeClr val="accent5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2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31D1B1-12AB-7B48-9DAA-7F6A5CF5B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138313" y="5046202"/>
            <a:ext cx="1536942" cy="1349149"/>
          </a:xfrm>
          <a:prstGeom prst="rect">
            <a:avLst/>
          </a:prstGeom>
        </p:spPr>
        <p:txBody>
          <a:bodyPr anchor="ctr"/>
          <a:lstStyle>
            <a:lvl1pPr algn="l">
              <a:buClr>
                <a:schemeClr val="tx2"/>
              </a:buClr>
              <a:buFont typeface="Wingdings" pitchFamily="2" charset="2"/>
              <a:buNone/>
              <a:defRPr sz="8000" b="1" i="0">
                <a:solidFill>
                  <a:schemeClr val="accent6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3</a:t>
            </a:r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E0E49A6D-CFBC-614E-A412-40EBF8341FB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885781" y="2270973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l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LOREM IPSUM FACT</a:t>
            </a:r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F319839F-38A3-2F4B-817F-AAB6D34D2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38314" y="3983980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r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DOLOR SIT FACT</a:t>
            </a:r>
          </a:p>
        </p:txBody>
      </p: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76DB2194-4C90-C84E-B35C-08E9234DA8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885781" y="5809151"/>
            <a:ext cx="3467417" cy="383064"/>
          </a:xfrm>
          <a:prstGeom prst="rect">
            <a:avLst/>
          </a:prstGeom>
        </p:spPr>
        <p:txBody>
          <a:bodyPr anchor="b"/>
          <a:lstStyle>
            <a:lvl1pPr marL="11113" indent="-11113" algn="l">
              <a:buClr>
                <a:schemeClr val="tx2"/>
              </a:buClr>
              <a:buFont typeface="Wingdings" pitchFamily="2" charset="2"/>
              <a:buNone/>
              <a:tabLst/>
              <a:defRPr sz="28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AMET FACT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6FB28BD9-FCCB-1C41-B721-98F292BF415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9" name="Textplatzhalter 9">
            <a:extLst>
              <a:ext uri="{FF2B5EF4-FFF2-40B4-BE49-F238E27FC236}">
                <a16:creationId xmlns:a16="http://schemas.microsoft.com/office/drawing/2014/main" id="{D7EFFF31-C183-9548-9AE4-E16638BE6B8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5200" y="2088000"/>
            <a:ext cx="6072196" cy="3988879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A3FDFA9D-13F3-0D4A-BED6-10F92E24473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200" y="1772816"/>
            <a:ext cx="6072639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3512E5AF-99DD-5B49-B9E1-AB2FB0837BC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5" name="Textplatzhalter 11">
            <a:extLst>
              <a:ext uri="{FF2B5EF4-FFF2-40B4-BE49-F238E27FC236}">
                <a16:creationId xmlns:a16="http://schemas.microsoft.com/office/drawing/2014/main" id="{D10261C8-E5D1-0345-833B-DB5CA0D04A3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20" name="Titel 2">
            <a:extLst>
              <a:ext uri="{FF2B5EF4-FFF2-40B4-BE49-F238E27FC236}">
                <a16:creationId xmlns:a16="http://schemas.microsoft.com/office/drawing/2014/main" id="{FD289B51-D032-764A-A0E8-667F20CCB8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02350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9">
            <a:extLst>
              <a:ext uri="{FF2B5EF4-FFF2-40B4-BE49-F238E27FC236}">
                <a16:creationId xmlns:a16="http://schemas.microsoft.com/office/drawing/2014/main" id="{2DAE674A-1C5A-5840-848A-6616AE5A569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200" y="2087999"/>
            <a:ext cx="6432123" cy="3988880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EDB56C3B-58AA-DF4D-80A0-7B302361B28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5200" y="1772816"/>
            <a:ext cx="6432592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B7D45B1-B05F-AF49-BAE5-85C8B630B891}"/>
              </a:ext>
            </a:extLst>
          </p:cNvPr>
          <p:cNvSpPr/>
          <p:nvPr userDrawn="1"/>
        </p:nvSpPr>
        <p:spPr>
          <a:xfrm>
            <a:off x="7552707" y="1924594"/>
            <a:ext cx="4639294" cy="415228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53D68D0E-DE4A-A049-A940-57B6C93124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23073" y="3744181"/>
            <a:ext cx="3330125" cy="1988726"/>
          </a:xfrm>
          <a:prstGeom prst="rect">
            <a:avLst/>
          </a:prstGeom>
        </p:spPr>
        <p:txBody>
          <a:bodyPr/>
          <a:lstStyle>
            <a:lvl1pPr marL="7938" indent="-7938">
              <a:buClr>
                <a:schemeClr val="tx2"/>
              </a:buClr>
              <a:buFont typeface="Wingdings" pitchFamily="2" charset="2"/>
              <a:buNone/>
              <a:tabLst/>
              <a:defRPr sz="17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7938" indent="0">
              <a:buClr>
                <a:schemeClr val="accent4"/>
              </a:buClr>
              <a:buFont typeface="Wingdings" pitchFamily="2" charset="2"/>
              <a:buNone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8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  <a:lvl4pPr marL="36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4pPr>
            <a:lvl5pPr marL="540000" indent="-180000">
              <a:buClr>
                <a:schemeClr val="bg1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1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  <a:p>
            <a:pPr lvl="4"/>
            <a:endParaRPr lang="en-US" dirty="0"/>
          </a:p>
        </p:txBody>
      </p:sp>
      <p:sp>
        <p:nvSpPr>
          <p:cNvPr id="17" name="Textplatzhalter 9">
            <a:extLst>
              <a:ext uri="{FF2B5EF4-FFF2-40B4-BE49-F238E27FC236}">
                <a16:creationId xmlns:a16="http://schemas.microsoft.com/office/drawing/2014/main" id="{EB4A4C63-1D0E-604A-99B5-464A26AC21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3074" y="2227706"/>
            <a:ext cx="3330125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000" b="1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DFEB040-C9F3-3B4C-BA04-DE8B3C2B6DE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DB3BC04D-1DBD-854F-84BE-D6E2777BD4B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4E12860B-C5D7-2144-AB48-719B3801A5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49E25614-0ABB-964F-831A-E61E413CE43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7577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1F6C9BC-6890-6545-AB1C-7B8E05A581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45957" y="4272566"/>
            <a:ext cx="3362836" cy="1804313"/>
          </a:xfrm>
          <a:prstGeom prst="rect">
            <a:avLst/>
          </a:prstGeom>
        </p:spPr>
        <p:txBody>
          <a:bodyPr/>
          <a:lstStyle>
            <a:lvl1pPr marL="7938" indent="-7938">
              <a:lnSpc>
                <a:spcPct val="100000"/>
              </a:lnSpc>
              <a:buClr>
                <a:schemeClr val="tx2"/>
              </a:buClr>
              <a:buFont typeface="Wingdings" pitchFamily="2" charset="2"/>
              <a:buNone/>
              <a:tabLst/>
              <a:defRPr sz="14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7938" indent="0">
              <a:lnSpc>
                <a:spcPct val="100000"/>
              </a:lnSpc>
              <a:buClr>
                <a:schemeClr val="accent4"/>
              </a:buClr>
              <a:buFont typeface="Wingdings" pitchFamily="2" charset="2"/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8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36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540000" indent="-180000">
              <a:lnSpc>
                <a:spcPct val="10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F05B8BD6-1DA5-1046-9D8E-8B502060DB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6750" y="2708920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3" name="Textplatzhalter 9">
            <a:extLst>
              <a:ext uri="{FF2B5EF4-FFF2-40B4-BE49-F238E27FC236}">
                <a16:creationId xmlns:a16="http://schemas.microsoft.com/office/drawing/2014/main" id="{6B440EB4-87C1-7C42-AF0E-9FF0CA2854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16226" y="2708920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14" name="Textplatzhalter 9">
            <a:extLst>
              <a:ext uri="{FF2B5EF4-FFF2-40B4-BE49-F238E27FC236}">
                <a16:creationId xmlns:a16="http://schemas.microsoft.com/office/drawing/2014/main" id="{4F31D1B1-12AB-7B48-9DAA-7F6A5CF5BED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987090" y="2708919"/>
            <a:ext cx="3364058" cy="134914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85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XX%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223E77E-35A5-334D-A077-6668DF248B1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15633" y="4272566"/>
            <a:ext cx="3362836" cy="1804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0" indent="0">
              <a:lnSpc>
                <a:spcPct val="100000"/>
              </a:lnSpc>
              <a:buClr>
                <a:schemeClr val="accent5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US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A4FF302F-BF1D-8E4B-8392-CB8A8155EAE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985903" y="4272004"/>
            <a:ext cx="3364059" cy="18043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3600" indent="0">
              <a:lnSpc>
                <a:spcPct val="100000"/>
              </a:lnSpc>
              <a:buClr>
                <a:schemeClr val="accent6"/>
              </a:buClr>
              <a:buFont typeface="Wingdings" pitchFamily="2" charset="2"/>
              <a:buNone/>
              <a:tabLst/>
              <a:defRPr sz="1400">
                <a:solidFill>
                  <a:schemeClr val="bg2"/>
                </a:solidFill>
              </a:defRPr>
            </a:lvl2pPr>
            <a:lvl3pPr marL="18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en-US" sz="14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TIT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00B6D74-77C9-4E4E-BAF5-A7A2496E5AC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E74BE627-D87D-B64F-98E1-97F0A63FE36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77EEAA55-A66C-4F47-9A94-F8C9614F0CD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F9C4B3E5-726F-5E45-9FF8-67B09C0183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6" name="Textplatzhalter 9">
            <a:extLst>
              <a:ext uri="{FF2B5EF4-FFF2-40B4-BE49-F238E27FC236}">
                <a16:creationId xmlns:a16="http://schemas.microsoft.com/office/drawing/2014/main" id="{1FF17172-91A8-5443-87C4-BC2CB11EC44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4088" y="1869018"/>
            <a:ext cx="10509903" cy="674331"/>
          </a:xfrm>
          <a:prstGeom prst="rect">
            <a:avLst/>
          </a:prstGeom>
        </p:spPr>
        <p:txBody>
          <a:bodyPr/>
          <a:lstStyle>
            <a:lvl1pPr marL="0" indent="0" algn="just">
              <a:buClr>
                <a:schemeClr val="tx2"/>
              </a:buClr>
              <a:buFont typeface="Wingdings" pitchFamily="2" charset="2"/>
              <a:buNone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18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  <a:lvl4pPr marL="540000" indent="-180000" algn="just">
              <a:buClr>
                <a:schemeClr val="tx2"/>
              </a:buClr>
              <a:buFont typeface="Wingdings" pitchFamily="2" charset="2"/>
              <a:buChar char="§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4pPr>
            <a:lvl5pPr marL="363600" indent="-363600" algn="just">
              <a:buClr>
                <a:schemeClr val="tx2"/>
              </a:buClr>
              <a:buFont typeface="+mj-lt"/>
              <a:buAutoNum type="arabicPeriod"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Click to edi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980929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8548275-0EE1-FE43-AA39-80EFF947711D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  <a:solidFill>
            <a:schemeClr val="bg2"/>
          </a:solidFill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BDCD05C-BF4F-2848-AFF3-C997B596BB87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2" name="Rechtwinkliges Dreieck 11">
              <a:extLst>
                <a:ext uri="{FF2B5EF4-FFF2-40B4-BE49-F238E27FC236}">
                  <a16:creationId xmlns:a16="http://schemas.microsoft.com/office/drawing/2014/main" id="{0EDEE093-B459-514B-96DF-4192AD4E2FBB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Grafik 10">
            <a:extLst>
              <a:ext uri="{FF2B5EF4-FFF2-40B4-BE49-F238E27FC236}">
                <a16:creationId xmlns:a16="http://schemas.microsoft.com/office/drawing/2014/main" id="{EEFD517D-267B-2C44-AADC-B5DB458105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8" name="Titelplatzhalter 1">
            <a:extLst>
              <a:ext uri="{FF2B5EF4-FFF2-40B4-BE49-F238E27FC236}">
                <a16:creationId xmlns:a16="http://schemas.microsoft.com/office/drawing/2014/main" id="{F1ECFEE8-66AB-7A47-9CC7-353781B2D2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FAA92DEE-970A-9942-B983-540A4FDCE7B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4862746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S_2_EMPHASIZ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00B6D74-77C9-4E4E-BAF5-A7A2496E5AC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792E2AC7-18B5-A849-9D6C-EA2156B9B3C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08892" y="1037813"/>
            <a:ext cx="5544306" cy="4404159"/>
          </a:xfrm>
          <a:prstGeom prst="rect">
            <a:avLst/>
          </a:prstGeom>
        </p:spPr>
        <p:txBody>
          <a:bodyPr anchor="ctr"/>
          <a:lstStyle>
            <a:lvl1pPr>
              <a:buClr>
                <a:schemeClr val="tx2"/>
              </a:buClr>
              <a:buFont typeface="Wingdings" pitchFamily="2" charset="2"/>
              <a:buNone/>
              <a:defRPr sz="250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>
              <a:buClr>
                <a:schemeClr val="tx2"/>
              </a:buClr>
              <a:buFont typeface="Wingdings" pitchFamily="2" charset="2"/>
              <a:buChar char="§"/>
              <a:defRPr sz="1800" b="0" i="0">
                <a:latin typeface="Verdana" panose="020B0604030504040204" pitchFamily="34" charset="0"/>
              </a:defRPr>
            </a:lvl2pPr>
            <a:lvl3pPr>
              <a:buClr>
                <a:schemeClr val="tx2"/>
              </a:buClr>
              <a:buFont typeface="Wingdings" pitchFamily="2" charset="2"/>
              <a:buChar char="§"/>
              <a:defRPr sz="1600" b="0" i="0">
                <a:latin typeface="Verdana" panose="020B0604030504040204" pitchFamily="34" charset="0"/>
              </a:defRPr>
            </a:lvl3pPr>
            <a:lvl4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4pPr>
            <a:lvl5pPr>
              <a:buClr>
                <a:schemeClr val="tx2"/>
              </a:buClr>
              <a:buFont typeface="Wingdings" pitchFamily="2" charset="2"/>
              <a:buChar char="§"/>
              <a:defRPr sz="1400" b="0" i="0">
                <a:latin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65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C12E455-F0E0-574F-85C9-1A93F9A3728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0169922" y="3334358"/>
            <a:ext cx="1183276" cy="10559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5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de-DE" dirty="0"/>
              <a:t>%</a:t>
            </a:r>
            <a:endParaRPr lang="en-US" dirty="0"/>
          </a:p>
        </p:txBody>
      </p:sp>
      <p:sp>
        <p:nvSpPr>
          <p:cNvPr id="15" name="Textplatzhalter 9">
            <a:extLst>
              <a:ext uri="{FF2B5EF4-FFF2-40B4-BE49-F238E27FC236}">
                <a16:creationId xmlns:a16="http://schemas.microsoft.com/office/drawing/2014/main" id="{4278E79D-FAB7-4A4A-9D7B-5BEF3A1D84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5200" y="2088001"/>
            <a:ext cx="4786106" cy="3988878"/>
          </a:xfrm>
          <a:prstGeom prst="rect">
            <a:avLst/>
          </a:prstGeom>
        </p:spPr>
        <p:txBody>
          <a:bodyPr/>
          <a:lstStyle>
            <a:lvl1pPr marL="0" indent="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None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1pPr>
            <a:lvl2pPr marL="285750" indent="-28575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36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>
              <a:lnSpc>
                <a:spcPct val="150000"/>
              </a:lnSpc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>
              <a:lnSpc>
                <a:spcPct val="150000"/>
              </a:lnSpc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  <a:endParaRPr lang="en-US" dirty="0"/>
          </a:p>
        </p:txBody>
      </p:sp>
      <p:sp>
        <p:nvSpPr>
          <p:cNvPr id="17" name="Textplatzhalter 4">
            <a:extLst>
              <a:ext uri="{FF2B5EF4-FFF2-40B4-BE49-F238E27FC236}">
                <a16:creationId xmlns:a16="http://schemas.microsoft.com/office/drawing/2014/main" id="{8B367A25-B3B4-A842-8852-51D1CDE2378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5200" y="1772816"/>
            <a:ext cx="4786455" cy="3651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7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0" dirty="0"/>
              <a:t>Click to edit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4974EABD-7CFB-1F41-B519-4064EA79CD9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6597034D-BF9C-D648-A566-14ED57BF4E9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6" name="Titel 2">
            <a:extLst>
              <a:ext uri="{FF2B5EF4-FFF2-40B4-BE49-F238E27FC236}">
                <a16:creationId xmlns:a16="http://schemas.microsoft.com/office/drawing/2014/main" id="{A10AA0C4-65D9-A24E-B280-EB54BCDE14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2633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A095D895-6A5A-7F47-8493-65B742F415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36125" y="5154158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D2853C4-E70E-0C49-8CE3-AA0D033FF3E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935509" y="4082579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016C5D3F-254E-8F4A-AFC2-4780D8EDC03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936141" y="301100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F9B311-7212-BB44-8EF8-5DCBB7CFF1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36141" y="193942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36125" y="1939423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1D7A8-E264-0149-966B-7457947CA1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8" name="Textplatzhalter 19">
            <a:extLst>
              <a:ext uri="{FF2B5EF4-FFF2-40B4-BE49-F238E27FC236}">
                <a16:creationId xmlns:a16="http://schemas.microsoft.com/office/drawing/2014/main" id="{7BFCC3DD-E82B-4C44-B958-D768B701775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136125" y="3011001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8B8E5F78-0378-7445-A5C0-54B76D99B03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136125" y="4082579"/>
            <a:ext cx="9216443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D9A28B69-0CCF-784A-BF27-7813A749E9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136124" y="5154158"/>
            <a:ext cx="9216444" cy="914400"/>
          </a:xfrm>
          <a:prstGeom prst="rect">
            <a:avLst/>
          </a:prstGeom>
        </p:spPr>
        <p:txBody>
          <a:bodyPr anchor="ctr"/>
          <a:lstStyle>
            <a:lvl1pPr marL="11113" indent="-11113">
              <a:buNone/>
              <a:tabLst/>
              <a:defRPr sz="17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7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255B27C5-885C-ED42-B108-D0AEDB9F0E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C230ED03-CE13-9043-8450-80F59BC0832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2DABD92B-1959-824F-B541-7C7B906A22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2483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Inhaltsplatzhalter 15">
            <a:extLst>
              <a:ext uri="{FF2B5EF4-FFF2-40B4-BE49-F238E27FC236}">
                <a16:creationId xmlns:a16="http://schemas.microsoft.com/office/drawing/2014/main" id="{E5E1342B-F97F-8042-A576-24DC3730F5A4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896199" y="2303396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15">
            <a:extLst>
              <a:ext uri="{FF2B5EF4-FFF2-40B4-BE49-F238E27FC236}">
                <a16:creationId xmlns:a16="http://schemas.microsoft.com/office/drawing/2014/main" id="{B8EE94F3-ABD2-054E-BF88-27BD3F159045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03946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16" name="Inhaltsplatzhalter 15">
            <a:extLst>
              <a:ext uri="{FF2B5EF4-FFF2-40B4-BE49-F238E27FC236}">
                <a16:creationId xmlns:a16="http://schemas.microsoft.com/office/drawing/2014/main" id="{6BDF366B-7F87-404E-8B31-45FECEFDC385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511692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11605" y="3664776"/>
            <a:ext cx="2845376" cy="2412103"/>
          </a:xfrm>
          <a:prstGeom prst="rect">
            <a:avLst/>
          </a:prstGeom>
        </p:spPr>
        <p:txBody>
          <a:bodyPr/>
          <a:lstStyle>
            <a:lvl1pPr marL="11113" indent="-11113">
              <a:buNone/>
              <a:tabLst/>
              <a:defRPr sz="1400" b="1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03903" y="3664776"/>
            <a:ext cx="2845376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96200" y="3664776"/>
            <a:ext cx="2845376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796C28CD-D9A3-4245-88CD-BD7B0E80B45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599EEAF0-DC10-294A-9C60-8505B96F1F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5FAC1C24-1B7B-874D-9051-5D2E64FD902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3" name="Titel 2">
            <a:extLst>
              <a:ext uri="{FF2B5EF4-FFF2-40B4-BE49-F238E27FC236}">
                <a16:creationId xmlns:a16="http://schemas.microsoft.com/office/drawing/2014/main" id="{BAC19F4A-7ADB-4D4C-BB55-FE0F39A8D8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593615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A095D895-6A5A-7F47-8493-65B742F4158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072704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ED2853C4-E70E-0C49-8CE3-AA0D033FF3EB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6326840" y="2303396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016C5D3F-254E-8F4A-AFC2-4780D8EDC037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580976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44F9B311-7212-BB44-8EF8-5DCBB7CFF1AA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5112" y="2298563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502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67049CD-071E-1B48-81FD-C653283E94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8100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698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72965" y="3664776"/>
            <a:ext cx="2275603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291D7A8-E264-0149-966B-7457947CA1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5135C184-546A-8044-B907-EF463502DF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4" name="Textplatzhalter 11">
            <a:extLst>
              <a:ext uri="{FF2B5EF4-FFF2-40B4-BE49-F238E27FC236}">
                <a16:creationId xmlns:a16="http://schemas.microsoft.com/office/drawing/2014/main" id="{91ACACC0-8304-264C-B580-98A3E0C5E6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528CC7CD-C0DE-E149-8324-294ACBCED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52266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Inhaltsplatzhalter 7">
            <a:extLst>
              <a:ext uri="{FF2B5EF4-FFF2-40B4-BE49-F238E27FC236}">
                <a16:creationId xmlns:a16="http://schemas.microsoft.com/office/drawing/2014/main" id="{226C0B46-7BEC-BF4C-A91B-FA92C9EE8F4D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9333038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7" name="Inhaltsplatzhalter 7">
            <a:extLst>
              <a:ext uri="{FF2B5EF4-FFF2-40B4-BE49-F238E27FC236}">
                <a16:creationId xmlns:a16="http://schemas.microsoft.com/office/drawing/2014/main" id="{C659ACE5-0DC2-B947-954B-77B4363293EF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7208165" y="2306222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6" name="Inhaltsplatzhalter 7">
            <a:extLst>
              <a:ext uri="{FF2B5EF4-FFF2-40B4-BE49-F238E27FC236}">
                <a16:creationId xmlns:a16="http://schemas.microsoft.com/office/drawing/2014/main" id="{8B563FEF-F9B5-3540-861C-357280CFF190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5083294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5" name="Inhaltsplatzhalter 7">
            <a:extLst>
              <a:ext uri="{FF2B5EF4-FFF2-40B4-BE49-F238E27FC236}">
                <a16:creationId xmlns:a16="http://schemas.microsoft.com/office/drawing/2014/main" id="{9F2F0A52-799D-974C-A7C8-24329A944A04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2958423" y="2306222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19" name="Inhaltsplatzhalter 7">
            <a:extLst>
              <a:ext uri="{FF2B5EF4-FFF2-40B4-BE49-F238E27FC236}">
                <a16:creationId xmlns:a16="http://schemas.microsoft.com/office/drawing/2014/main" id="{57539662-A4CD-9B4A-8778-9639BABE8A73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833552" y="2303181"/>
            <a:ext cx="914400" cy="914400"/>
          </a:xfrm>
          <a:prstGeom prst="rect">
            <a:avLst/>
          </a:prstGeo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96F8BE64-EF32-B34C-B829-38D075777C3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3465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1" name="Textplatzhalter 19">
            <a:extLst>
              <a:ext uri="{FF2B5EF4-FFF2-40B4-BE49-F238E27FC236}">
                <a16:creationId xmlns:a16="http://schemas.microsoft.com/office/drawing/2014/main" id="{E67049CD-071E-1B48-81FD-C653283E94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58423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2" name="Textplatzhalter 19">
            <a:extLst>
              <a:ext uri="{FF2B5EF4-FFF2-40B4-BE49-F238E27FC236}">
                <a16:creationId xmlns:a16="http://schemas.microsoft.com/office/drawing/2014/main" id="{4588405E-8B00-8543-8027-E69BFCAF14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83381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3" name="Textplatzhalter 19">
            <a:extLst>
              <a:ext uri="{FF2B5EF4-FFF2-40B4-BE49-F238E27FC236}">
                <a16:creationId xmlns:a16="http://schemas.microsoft.com/office/drawing/2014/main" id="{EC1351DC-62A1-DB4D-8FFA-F3A93E684C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08339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24" name="Textplatzhalter 19">
            <a:extLst>
              <a:ext uri="{FF2B5EF4-FFF2-40B4-BE49-F238E27FC236}">
                <a16:creationId xmlns:a16="http://schemas.microsoft.com/office/drawing/2014/main" id="{0072B0B5-217F-A44F-A0E5-891429A7D8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333299" y="3664776"/>
            <a:ext cx="2019899" cy="2412103"/>
          </a:xfrm>
          <a:prstGeom prst="rect">
            <a:avLst/>
          </a:prstGeom>
        </p:spPr>
        <p:txBody>
          <a:bodyPr/>
          <a:lstStyle>
            <a:lvl1pPr marL="0" indent="0">
              <a:buNone/>
              <a:tabLst/>
              <a:defRPr lang="de-DE" sz="1400" b="1" i="0" kern="1200" dirty="0">
                <a:solidFill>
                  <a:schemeClr val="tx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11113" indent="-11113">
              <a:buNone/>
              <a:tabLst/>
              <a:defRPr sz="14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</a:lstStyle>
          <a:p>
            <a:pPr lvl="0"/>
            <a:r>
              <a:rPr lang="en-GB" noProof="0" dirty="0"/>
              <a:t>CLICK TO EDIT</a:t>
            </a:r>
          </a:p>
          <a:p>
            <a:pPr lvl="1"/>
            <a:r>
              <a:rPr lang="en-GB" noProof="0" dirty="0"/>
              <a:t>Second level</a:t>
            </a:r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1ED7A39-B687-F84A-83A0-B55F3653D6E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29" name="Grafik 28">
            <a:extLst>
              <a:ext uri="{FF2B5EF4-FFF2-40B4-BE49-F238E27FC236}">
                <a16:creationId xmlns:a16="http://schemas.microsoft.com/office/drawing/2014/main" id="{47237D32-76AE-4449-BC42-9795644939B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45CAB6EA-7DBA-2546-A561-A869D1A31A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8802" y="1069274"/>
            <a:ext cx="10514398" cy="524224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800" b="0" i="0" cap="all" baseline="0">
                <a:solidFill>
                  <a:schemeClr val="bg2"/>
                </a:solidFill>
                <a:latin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SUBTITLE LOREM IPSUM</a:t>
            </a:r>
          </a:p>
        </p:txBody>
      </p:sp>
      <p:sp>
        <p:nvSpPr>
          <p:cNvPr id="17" name="Titel 2">
            <a:extLst>
              <a:ext uri="{FF2B5EF4-FFF2-40B4-BE49-F238E27FC236}">
                <a16:creationId xmlns:a16="http://schemas.microsoft.com/office/drawing/2014/main" id="{D229AE10-4F0C-5549-90E0-0FF7ADD23C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1" y="540000"/>
            <a:ext cx="10514397" cy="524223"/>
          </a:xfrm>
        </p:spPr>
        <p:txBody>
          <a:bodyPr>
            <a:noAutofit/>
          </a:bodyPr>
          <a:lstStyle>
            <a:lvl1pPr>
              <a:defRPr cap="all" baseline="0"/>
            </a:lvl1pPr>
          </a:lstStyle>
          <a:p>
            <a:r>
              <a:rPr lang="de-DE" dirty="0"/>
              <a:t>PAGE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61930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IC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2" name="Titel 21">
            <a:extLst>
              <a:ext uri="{FF2B5EF4-FFF2-40B4-BE49-F238E27FC236}">
                <a16:creationId xmlns:a16="http://schemas.microsoft.com/office/drawing/2014/main" id="{E8158508-7A80-BF4A-BEF9-CC496EB4CB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dirty="0"/>
              <a:t>MEMBER FIRM LOCATIONS</a:t>
            </a:r>
            <a:endParaRPr lang="en-US" dirty="0"/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DFEF99D8-015B-114F-97C3-8721C4FC54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801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2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24433B7A-A789-2543-8A0C-69B369FB4E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9132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CB51EBAA-839E-D042-A954-C5A74AD8F6A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9463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BC4D8B8E-AE13-9F47-B552-688CD0825BF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795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6" name="Textplatzhalter 3">
            <a:extLst>
              <a:ext uri="{FF2B5EF4-FFF2-40B4-BE49-F238E27FC236}">
                <a16:creationId xmlns:a16="http://schemas.microsoft.com/office/drawing/2014/main" id="{445A5A26-CE03-664F-A4DF-D712DABF85E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1" y="2514789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255E9AC1-D641-5A44-A4C1-A7D3DB24778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88331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8" name="Textplatzhalter 3">
            <a:extLst>
              <a:ext uri="{FF2B5EF4-FFF2-40B4-BE49-F238E27FC236}">
                <a16:creationId xmlns:a16="http://schemas.microsoft.com/office/drawing/2014/main" id="{71CC5EC7-68AC-0C48-8204-88C99B9319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9063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0" name="Textplatzhalter 3">
            <a:extLst>
              <a:ext uri="{FF2B5EF4-FFF2-40B4-BE49-F238E27FC236}">
                <a16:creationId xmlns:a16="http://schemas.microsoft.com/office/drawing/2014/main" id="{4E9F9E9C-EF38-5F40-A397-DF5B6A7D82C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89795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1" name="Textplatzhalter 3">
            <a:extLst>
              <a:ext uri="{FF2B5EF4-FFF2-40B4-BE49-F238E27FC236}">
                <a16:creationId xmlns:a16="http://schemas.microsoft.com/office/drawing/2014/main" id="{4E6E1FBA-8E45-C44B-BA68-08A93AD1745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9132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2" name="Textplatzhalter 3">
            <a:extLst>
              <a:ext uri="{FF2B5EF4-FFF2-40B4-BE49-F238E27FC236}">
                <a16:creationId xmlns:a16="http://schemas.microsoft.com/office/drawing/2014/main" id="{B37911B9-8DAA-7B44-AAC7-CF5AE0B417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9463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FE95E96B-EB01-2743-831D-C42FB7C1222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795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4" name="Textplatzhalter 3">
            <a:extLst>
              <a:ext uri="{FF2B5EF4-FFF2-40B4-BE49-F238E27FC236}">
                <a16:creationId xmlns:a16="http://schemas.microsoft.com/office/drawing/2014/main" id="{4145EA9F-8668-D044-A541-2C8154825B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801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5" name="Textplatzhalter 3">
            <a:extLst>
              <a:ext uri="{FF2B5EF4-FFF2-40B4-BE49-F238E27FC236}">
                <a16:creationId xmlns:a16="http://schemas.microsoft.com/office/drawing/2014/main" id="{989ED4A7-90DD-CB43-AC6C-4E8E4CE104C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88732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6" name="Textplatzhalter 3">
            <a:extLst>
              <a:ext uri="{FF2B5EF4-FFF2-40B4-BE49-F238E27FC236}">
                <a16:creationId xmlns:a16="http://schemas.microsoft.com/office/drawing/2014/main" id="{9E25B8B6-8062-F24E-9AFA-D1968627493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9063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7" name="Textplatzhalter 3">
            <a:extLst>
              <a:ext uri="{FF2B5EF4-FFF2-40B4-BE49-F238E27FC236}">
                <a16:creationId xmlns:a16="http://schemas.microsoft.com/office/drawing/2014/main" id="{850FCEA6-C659-144E-8EEC-55BE1B77369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9395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4FC42E85-C4F3-0E4B-A1EF-11C04A34F9D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401" y="4869160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1200" b="1" i="0" u="none" kern="1200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F0FE84DC-2E89-2A43-9D32-D6C81664F0C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43987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FFICES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7DECBE-2BCF-3647-8DEC-07624DCFA8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MEMBER FIRM LOCATIONS</a:t>
            </a:r>
            <a:endParaRPr lang="en-US" dirty="0"/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CDBCCF44-349C-174D-9608-9C195ECD900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801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D33821F3-12CE-B44D-AECF-E5538F798BA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89132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4555F14D-4325-F443-A619-AD941EA674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39463" y="1337603"/>
            <a:ext cx="2562202" cy="101441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lnSpc>
                <a:spcPts val="800"/>
              </a:lnSpc>
              <a:buNone/>
              <a:tabLst/>
              <a:defRPr sz="10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87C7276D-6EC5-1A4F-B724-5FD2B8D144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795" y="133760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67190F7B-EE64-DE45-AFEF-E57E9EB50F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38801" y="2514789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BFF5524A-F5A0-044B-B5A5-18AC1EF25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88331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47B6BBDE-BBB8-9C45-8A9C-FAF67856C84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39063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0" name="Textplatzhalter 3">
            <a:extLst>
              <a:ext uri="{FF2B5EF4-FFF2-40B4-BE49-F238E27FC236}">
                <a16:creationId xmlns:a16="http://schemas.microsoft.com/office/drawing/2014/main" id="{A3B61802-9BC2-F744-9FDB-433578193A5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89795" y="2511522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2" name="Textplatzhalter 3">
            <a:extLst>
              <a:ext uri="{FF2B5EF4-FFF2-40B4-BE49-F238E27FC236}">
                <a16:creationId xmlns:a16="http://schemas.microsoft.com/office/drawing/2014/main" id="{4FEAAEA8-9D30-AC41-BC72-447627D44CC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489132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3" name="Textplatzhalter 3">
            <a:extLst>
              <a:ext uri="{FF2B5EF4-FFF2-40B4-BE49-F238E27FC236}">
                <a16:creationId xmlns:a16="http://schemas.microsoft.com/office/drawing/2014/main" id="{EEB1E081-A077-204D-ADF8-BB5F828A242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39463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4" name="Textplatzhalter 3">
            <a:extLst>
              <a:ext uri="{FF2B5EF4-FFF2-40B4-BE49-F238E27FC236}">
                <a16:creationId xmlns:a16="http://schemas.microsoft.com/office/drawing/2014/main" id="{8EF44F7E-33F0-2643-AC61-BDA5A27F82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795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cxnSp>
        <p:nvCxnSpPr>
          <p:cNvPr id="36" name="Gerade Verbindung 35">
            <a:extLst>
              <a:ext uri="{FF2B5EF4-FFF2-40B4-BE49-F238E27FC236}">
                <a16:creationId xmlns:a16="http://schemas.microsoft.com/office/drawing/2014/main" id="{CE3FD57E-C5B2-E746-A8EB-E015134CE601}"/>
              </a:ext>
            </a:extLst>
          </p:cNvPr>
          <p:cNvCxnSpPr>
            <a:cxnSpLocks/>
          </p:cNvCxnSpPr>
          <p:nvPr userDrawn="1"/>
        </p:nvCxnSpPr>
        <p:spPr>
          <a:xfrm>
            <a:off x="13933228" y="245273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>
            <a:extLst>
              <a:ext uri="{FF2B5EF4-FFF2-40B4-BE49-F238E27FC236}">
                <a16:creationId xmlns:a16="http://schemas.microsoft.com/office/drawing/2014/main" id="{3F43B87C-D6B1-1F46-B70F-AFAE76EE68B6}"/>
              </a:ext>
            </a:extLst>
          </p:cNvPr>
          <p:cNvCxnSpPr>
            <a:cxnSpLocks/>
          </p:cNvCxnSpPr>
          <p:nvPr userDrawn="1"/>
        </p:nvCxnSpPr>
        <p:spPr>
          <a:xfrm>
            <a:off x="16584149" y="278829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>
            <a:extLst>
              <a:ext uri="{FF2B5EF4-FFF2-40B4-BE49-F238E27FC236}">
                <a16:creationId xmlns:a16="http://schemas.microsoft.com/office/drawing/2014/main" id="{A8ED9218-FFA3-5C4C-ADE7-A5FEE62E01D3}"/>
              </a:ext>
            </a:extLst>
          </p:cNvPr>
          <p:cNvCxnSpPr>
            <a:cxnSpLocks/>
          </p:cNvCxnSpPr>
          <p:nvPr userDrawn="1"/>
        </p:nvCxnSpPr>
        <p:spPr>
          <a:xfrm>
            <a:off x="19235070" y="102660"/>
            <a:ext cx="0" cy="656818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platzhalter 3">
            <a:extLst>
              <a:ext uri="{FF2B5EF4-FFF2-40B4-BE49-F238E27FC236}">
                <a16:creationId xmlns:a16="http://schemas.microsoft.com/office/drawing/2014/main" id="{4FA7DE0E-E033-BB4A-845D-C88FB5D02D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38801" y="3691974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CBB056B0-1F81-EE4F-B6D0-2B263DD4E24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88732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1" name="Textplatzhalter 3">
            <a:extLst>
              <a:ext uri="{FF2B5EF4-FFF2-40B4-BE49-F238E27FC236}">
                <a16:creationId xmlns:a16="http://schemas.microsoft.com/office/drawing/2014/main" id="{14FD935D-3B64-0E47-B613-DED3617BF15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139063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5" name="Textplatzhalter 3">
            <a:extLst>
              <a:ext uri="{FF2B5EF4-FFF2-40B4-BE49-F238E27FC236}">
                <a16:creationId xmlns:a16="http://schemas.microsoft.com/office/drawing/2014/main" id="{DC629283-B7DF-5141-911C-CAA3CE11AFC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789395" y="4869301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sp>
        <p:nvSpPr>
          <p:cNvPr id="37" name="Textplatzhalter 3">
            <a:extLst>
              <a:ext uri="{FF2B5EF4-FFF2-40B4-BE49-F238E27FC236}">
                <a16:creationId xmlns:a16="http://schemas.microsoft.com/office/drawing/2014/main" id="{27F663BF-2DDC-8346-A973-ABFF4CF6CD9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401" y="4869160"/>
            <a:ext cx="2562202" cy="101441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800"/>
              </a:lnSpc>
              <a:buNone/>
              <a:defRPr lang="en-US" sz="1200" b="1" i="0" u="none" kern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en-US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11113" indent="0" algn="l" defTabSz="914400" rtl="0" eaLnBrk="1" latinLnBrk="0" hangingPunct="1">
              <a:lnSpc>
                <a:spcPts val="8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lang="de-DE" sz="1000" b="0" i="0" kern="1200" dirty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b="1" dirty="0"/>
              <a:t>OFFICE</a:t>
            </a:r>
            <a:endParaRPr lang="en-US" b="0" dirty="0"/>
          </a:p>
          <a:p>
            <a:pPr lvl="1"/>
            <a:r>
              <a:rPr lang="en-US" b="0" dirty="0"/>
              <a:t>Address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F:</a:t>
            </a:r>
            <a:endParaRPr lang="de-DE" b="1" dirty="0"/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2D1C3D01-A369-C14E-93F6-26E2A46926C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338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_ADVANT_OFFICE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9D03D7B1-A398-2A4F-A88C-E510832BD35B}"/>
              </a:ext>
            </a:extLst>
          </p:cNvPr>
          <p:cNvSpPr txBox="1"/>
          <p:nvPr userDrawn="1"/>
        </p:nvSpPr>
        <p:spPr>
          <a:xfrm>
            <a:off x="838800" y="540000"/>
            <a:ext cx="10515600" cy="522000"/>
          </a:xfrm>
          <a:prstGeom prst="rect">
            <a:avLst/>
          </a:prstGeom>
        </p:spPr>
        <p:txBody>
          <a:bodyPr vert="horz" lIns="90000" tIns="45720" rIns="91440" bIns="45720" rtlCol="0" anchor="t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 i="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pPr lvl="0"/>
            <a:r>
              <a:rPr lang="en-GB" noProof="0" dirty="0"/>
              <a:t>ADVANT MEMBER FIRM offices</a:t>
            </a:r>
            <a:endParaRPr lang="it-IT" dirty="0"/>
          </a:p>
        </p:txBody>
      </p:sp>
      <p:pic>
        <p:nvPicPr>
          <p:cNvPr id="19" name="Grafik 23">
            <a:extLst>
              <a:ext uri="{FF2B5EF4-FFF2-40B4-BE49-F238E27FC236}">
                <a16:creationId xmlns:a16="http://schemas.microsoft.com/office/drawing/2014/main" id="{76378621-47DC-9941-898B-22914DA1F13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20" name="Textfeld 22">
            <a:extLst>
              <a:ext uri="{FF2B5EF4-FFF2-40B4-BE49-F238E27FC236}">
                <a16:creationId xmlns:a16="http://schemas.microsoft.com/office/drawing/2014/main" id="{EA5B1344-841D-6D4F-8B64-6613BE0B9752}"/>
              </a:ext>
            </a:extLst>
          </p:cNvPr>
          <p:cNvSpPr txBox="1"/>
          <p:nvPr userDrawn="1"/>
        </p:nvSpPr>
        <p:spPr>
          <a:xfrm>
            <a:off x="8663286" y="1332000"/>
            <a:ext cx="2562203" cy="1278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410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g Kong New World Tower 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3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dd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aihai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032 Shanghai Shi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86 21 60906337</a:t>
            </a: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19F1FB4B-136D-9046-A37B-C17E1331B3F6}"/>
              </a:ext>
            </a:extLst>
          </p:cNvPr>
          <p:cNvSpPr txBox="1"/>
          <p:nvPr userDrawn="1"/>
        </p:nvSpPr>
        <p:spPr>
          <a:xfrm>
            <a:off x="6096000" y="4896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delle Quattro Fontane 16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0187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6 6784977</a:t>
            </a:r>
          </a:p>
        </p:txBody>
      </p:sp>
      <p:sp>
        <p:nvSpPr>
          <p:cNvPr id="22" name="Textfeld 25">
            <a:extLst>
              <a:ext uri="{FF2B5EF4-FFF2-40B4-BE49-F238E27FC236}">
                <a16:creationId xmlns:a16="http://schemas.microsoft.com/office/drawing/2014/main" id="{263CB705-0EA7-C74C-B388-CF9789A40FFC}"/>
              </a:ext>
            </a:extLst>
          </p:cNvPr>
          <p:cNvSpPr txBox="1"/>
          <p:nvPr userDrawn="1"/>
        </p:nvSpPr>
        <p:spPr>
          <a:xfrm>
            <a:off x="6101083" y="3686400"/>
            <a:ext cx="2562203" cy="968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5 Rue de Tocquevill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5017 Paris, Franc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@advant-altana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3 (0)1 79 97 93 00</a:t>
            </a:r>
          </a:p>
        </p:txBody>
      </p:sp>
      <p:sp>
        <p:nvSpPr>
          <p:cNvPr id="24" name="Textfeld 26">
            <a:extLst>
              <a:ext uri="{FF2B5EF4-FFF2-40B4-BE49-F238E27FC236}">
                <a16:creationId xmlns:a16="http://schemas.microsoft.com/office/drawing/2014/main" id="{0C3031E5-D298-B245-BB60-028D0EC98227}"/>
              </a:ext>
            </a:extLst>
          </p:cNvPr>
          <p:cNvSpPr txBox="1"/>
          <p:nvPr userDrawn="1"/>
        </p:nvSpPr>
        <p:spPr>
          <a:xfrm>
            <a:off x="6087533" y="25128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nghofer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3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0339 Munich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89 35065-0</a:t>
            </a:r>
          </a:p>
        </p:txBody>
      </p:sp>
      <p:sp>
        <p:nvSpPr>
          <p:cNvPr id="31" name="Textfeld 27">
            <a:extLst>
              <a:ext uri="{FF2B5EF4-FFF2-40B4-BE49-F238E27FC236}">
                <a16:creationId xmlns:a16="http://schemas.microsoft.com/office/drawing/2014/main" id="{B4A62716-627D-DA4D-9D59-4C0B70EBB2A2}"/>
              </a:ext>
            </a:extLst>
          </p:cNvPr>
          <p:cNvSpPr txBox="1"/>
          <p:nvPr userDrawn="1"/>
        </p:nvSpPr>
        <p:spPr>
          <a:xfrm>
            <a:off x="6094800" y="1332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chanino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er. 6/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9034 Moscow, Russi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7 495 2329635</a:t>
            </a:r>
          </a:p>
        </p:txBody>
      </p:sp>
      <p:sp>
        <p:nvSpPr>
          <p:cNvPr id="35" name="Textfeld 28">
            <a:extLst>
              <a:ext uri="{FF2B5EF4-FFF2-40B4-BE49-F238E27FC236}">
                <a16:creationId xmlns:a16="http://schemas.microsoft.com/office/drawing/2014/main" id="{95EDAF25-8F11-4D48-9BED-4FBF65DA1B1D}"/>
              </a:ext>
            </a:extLst>
          </p:cNvPr>
          <p:cNvSpPr txBox="1"/>
          <p:nvPr userDrawn="1"/>
        </p:nvSpPr>
        <p:spPr>
          <a:xfrm>
            <a:off x="3383131" y="4896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nell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1 Milan, Ital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@advant-nctm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9 02 725 51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36" name="Textfeld 29">
            <a:extLst>
              <a:ext uri="{FF2B5EF4-FFF2-40B4-BE49-F238E27FC236}">
                <a16:creationId xmlns:a16="http://schemas.microsoft.com/office/drawing/2014/main" id="{5D45004C-BC12-B04C-A93F-ADCAF5252150}"/>
              </a:ext>
            </a:extLst>
          </p:cNvPr>
          <p:cNvSpPr txBox="1"/>
          <p:nvPr userDrawn="1"/>
        </p:nvSpPr>
        <p:spPr>
          <a:xfrm>
            <a:off x="3385673" y="36864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 Bruton Stree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, W1J6QZ, United Kingd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@advant-nctm.c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44 20 73759900</a:t>
            </a:r>
          </a:p>
        </p:txBody>
      </p:sp>
      <p:sp>
        <p:nvSpPr>
          <p:cNvPr id="37" name="Textfeld 31">
            <a:extLst>
              <a:ext uri="{FF2B5EF4-FFF2-40B4-BE49-F238E27FC236}">
                <a16:creationId xmlns:a16="http://schemas.microsoft.com/office/drawing/2014/main" id="{19385DD6-3A74-5144-A9DE-5CA1C65CB451}"/>
              </a:ext>
            </a:extLst>
          </p:cNvPr>
          <p:cNvSpPr txBox="1"/>
          <p:nvPr userDrawn="1"/>
        </p:nvSpPr>
        <p:spPr>
          <a:xfrm>
            <a:off x="3385674" y="25128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u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ll 7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54 Hamburg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40 688745-0</a:t>
            </a:r>
          </a:p>
        </p:txBody>
      </p:sp>
      <p:sp>
        <p:nvSpPr>
          <p:cNvPr id="38" name="Textfeld 32">
            <a:extLst>
              <a:ext uri="{FF2B5EF4-FFF2-40B4-BE49-F238E27FC236}">
                <a16:creationId xmlns:a16="http://schemas.microsoft.com/office/drawing/2014/main" id="{2FE8E9CB-61CD-2A46-AD36-DCAFF89B2E27}"/>
              </a:ext>
            </a:extLst>
          </p:cNvPr>
          <p:cNvSpPr txBox="1"/>
          <p:nvPr userDrawn="1"/>
        </p:nvSpPr>
        <p:spPr>
          <a:xfrm>
            <a:off x="3390757" y="1332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inz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nd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6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0325 Frankfurt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69 756095-0</a:t>
            </a:r>
          </a:p>
        </p:txBody>
      </p:sp>
      <p:sp>
        <p:nvSpPr>
          <p:cNvPr id="40" name="Textfeld 38">
            <a:extLst>
              <a:ext uri="{FF2B5EF4-FFF2-40B4-BE49-F238E27FC236}">
                <a16:creationId xmlns:a16="http://schemas.microsoft.com/office/drawing/2014/main" id="{87FA3376-10D6-FE48-A7B8-ADE3A9EA118C}"/>
              </a:ext>
            </a:extLst>
          </p:cNvPr>
          <p:cNvSpPr txBox="1"/>
          <p:nvPr userDrawn="1"/>
        </p:nvSpPr>
        <p:spPr>
          <a:xfrm>
            <a:off x="828555" y="409020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Louise 489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50 Brussels, Belgiu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2 2 6390000</a:t>
            </a:r>
          </a:p>
        </p:txBody>
      </p:sp>
      <p:sp>
        <p:nvSpPr>
          <p:cNvPr id="41" name="Textfeld 49">
            <a:extLst>
              <a:ext uri="{FF2B5EF4-FFF2-40B4-BE49-F238E27FC236}">
                <a16:creationId xmlns:a16="http://schemas.microsoft.com/office/drawing/2014/main" id="{20C7AEBF-D906-3D49-AB13-CCF9C8EE8867}"/>
              </a:ext>
            </a:extLst>
          </p:cNvPr>
          <p:cNvSpPr txBox="1"/>
          <p:nvPr userDrawn="1"/>
        </p:nvSpPr>
        <p:spPr>
          <a:xfrm>
            <a:off x="828556" y="2956595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tzowplatz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785 Berlin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30 26471-0</a:t>
            </a:r>
          </a:p>
        </p:txBody>
      </p:sp>
      <p:sp>
        <p:nvSpPr>
          <p:cNvPr id="42" name="Textfeld 50">
            <a:extLst>
              <a:ext uri="{FF2B5EF4-FFF2-40B4-BE49-F238E27FC236}">
                <a16:creationId xmlns:a16="http://schemas.microsoft.com/office/drawing/2014/main" id="{A2F177B7-D2A8-BF4D-9DDF-CD372B518875}"/>
              </a:ext>
            </a:extLst>
          </p:cNvPr>
          <p:cNvSpPr txBox="1"/>
          <p:nvPr userDrawn="1"/>
        </p:nvSpPr>
        <p:spPr>
          <a:xfrm>
            <a:off x="828557" y="1332406"/>
            <a:ext cx="2562203" cy="1610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ite 3130, 31st Floo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th Office Towe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 Kerry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uang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ua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o Yang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20 Beijing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86 10 85298110</a:t>
            </a:r>
          </a:p>
        </p:txBody>
      </p:sp>
      <p:sp>
        <p:nvSpPr>
          <p:cNvPr id="43" name="Textfeld 33">
            <a:extLst>
              <a:ext uri="{FF2B5EF4-FFF2-40B4-BE49-F238E27FC236}">
                <a16:creationId xmlns:a16="http://schemas.microsoft.com/office/drawing/2014/main" id="{D3003619-BE80-BE43-8F86-0C3A51FBCCAC}"/>
              </a:ext>
            </a:extLst>
          </p:cNvPr>
          <p:cNvSpPr txBox="1"/>
          <p:nvPr userDrawn="1"/>
        </p:nvSpPr>
        <p:spPr>
          <a:xfrm>
            <a:off x="823470" y="512441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AC1938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cilienalle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474 Dusseldorf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646363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211 518989-0</a:t>
            </a:r>
          </a:p>
        </p:txBody>
      </p:sp>
    </p:spTree>
    <p:extLst>
      <p:ext uri="{BB962C8B-B14F-4D97-AF65-F5344CB8AC3E}">
        <p14:creationId xmlns:p14="http://schemas.microsoft.com/office/powerpoint/2010/main" val="41240972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L_ADVANT_OFFICES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B3063552-19B1-EF42-BC56-9005FA4836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DEA5B78-D59C-C04A-AB8A-1BA2C5C6FB7F}"/>
              </a:ext>
            </a:extLst>
          </p:cNvPr>
          <p:cNvSpPr txBox="1"/>
          <p:nvPr userDrawn="1"/>
        </p:nvSpPr>
        <p:spPr>
          <a:xfrm>
            <a:off x="838800" y="540000"/>
            <a:ext cx="10515600" cy="522000"/>
          </a:xfrm>
          <a:prstGeom prst="rect">
            <a:avLst/>
          </a:prstGeom>
          <a:noFill/>
        </p:spPr>
        <p:txBody>
          <a:bodyPr wrap="square" lIns="90000" rtlCol="0">
            <a:noAutofit/>
          </a:bodyPr>
          <a:lstStyle/>
          <a:p>
            <a:pPr>
              <a:lnSpc>
                <a:spcPct val="90000"/>
              </a:lnSpc>
            </a:pPr>
            <a:r>
              <a:rPr kumimoji="0" lang="en-GB" sz="2400" b="1" i="0" u="none" strike="noStrike" kern="1200" cap="all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+mj-ea"/>
                <a:cs typeface="Verdana" panose="020B0604030504040204" pitchFamily="34" charset="0"/>
              </a:rPr>
              <a:t>ADVANT MEMBER FIRM offices</a:t>
            </a:r>
            <a:endParaRPr lang="it-IT" dirty="0">
              <a:solidFill>
                <a:schemeClr val="bg1"/>
              </a:solidFill>
            </a:endParaRPr>
          </a:p>
        </p:txBody>
      </p:sp>
      <p:pic>
        <p:nvPicPr>
          <p:cNvPr id="19" name="Grafik 40">
            <a:extLst>
              <a:ext uri="{FF2B5EF4-FFF2-40B4-BE49-F238E27FC236}">
                <a16:creationId xmlns:a16="http://schemas.microsoft.com/office/drawing/2014/main" id="{D3BF7C1F-C06E-D641-A05D-1E76ED2864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20" name="Textfeld 22">
            <a:extLst>
              <a:ext uri="{FF2B5EF4-FFF2-40B4-BE49-F238E27FC236}">
                <a16:creationId xmlns:a16="http://schemas.microsoft.com/office/drawing/2014/main" id="{B08F038B-2A8B-E145-AECC-28DCFCA0CB62}"/>
              </a:ext>
            </a:extLst>
          </p:cNvPr>
          <p:cNvSpPr txBox="1"/>
          <p:nvPr userDrawn="1"/>
        </p:nvSpPr>
        <p:spPr>
          <a:xfrm>
            <a:off x="8663286" y="1332000"/>
            <a:ext cx="2562203" cy="1278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om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410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ng Kong New World Tower 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o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. 300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ddl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uaihai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0032 Shanghai Shi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hanghai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86 21 60906337</a:t>
            </a:r>
          </a:p>
        </p:txBody>
      </p:sp>
      <p:sp>
        <p:nvSpPr>
          <p:cNvPr id="21" name="Textfeld 24">
            <a:extLst>
              <a:ext uri="{FF2B5EF4-FFF2-40B4-BE49-F238E27FC236}">
                <a16:creationId xmlns:a16="http://schemas.microsoft.com/office/drawing/2014/main" id="{976DB77E-FEB4-6145-B6A6-41BDDB03C1B9}"/>
              </a:ext>
            </a:extLst>
          </p:cNvPr>
          <p:cNvSpPr txBox="1"/>
          <p:nvPr userDrawn="1"/>
        </p:nvSpPr>
        <p:spPr>
          <a:xfrm>
            <a:off x="6096000" y="4896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delle Quattro Fontane 161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00187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,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taly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rome@advant-nctm.com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9 06 6784977</a:t>
            </a:r>
          </a:p>
        </p:txBody>
      </p:sp>
      <p:sp>
        <p:nvSpPr>
          <p:cNvPr id="22" name="Textfeld 25">
            <a:extLst>
              <a:ext uri="{FF2B5EF4-FFF2-40B4-BE49-F238E27FC236}">
                <a16:creationId xmlns:a16="http://schemas.microsoft.com/office/drawing/2014/main" id="{DA11A407-89B7-B047-951A-2537F7E87246}"/>
              </a:ext>
            </a:extLst>
          </p:cNvPr>
          <p:cNvSpPr txBox="1"/>
          <p:nvPr userDrawn="1"/>
        </p:nvSpPr>
        <p:spPr>
          <a:xfrm>
            <a:off x="6101083" y="3686400"/>
            <a:ext cx="2562203" cy="9680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5 Rue de Tocquevill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75017 Paris, France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paris@advant-altana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33 (0)1 79 97 93 00</a:t>
            </a:r>
          </a:p>
        </p:txBody>
      </p:sp>
      <p:sp>
        <p:nvSpPr>
          <p:cNvPr id="23" name="Textfeld 26">
            <a:extLst>
              <a:ext uri="{FF2B5EF4-FFF2-40B4-BE49-F238E27FC236}">
                <a16:creationId xmlns:a16="http://schemas.microsoft.com/office/drawing/2014/main" id="{8D3B43FA-4721-434F-A9C6-4DFD96E16285}"/>
              </a:ext>
            </a:extLst>
          </p:cNvPr>
          <p:cNvSpPr txBox="1"/>
          <p:nvPr userDrawn="1"/>
        </p:nvSpPr>
        <p:spPr>
          <a:xfrm>
            <a:off x="6087533" y="25128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anghofer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3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80339 Munich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unich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89 35065-0</a:t>
            </a:r>
          </a:p>
        </p:txBody>
      </p:sp>
      <p:sp>
        <p:nvSpPr>
          <p:cNvPr id="24" name="Textfeld 27">
            <a:extLst>
              <a:ext uri="{FF2B5EF4-FFF2-40B4-BE49-F238E27FC236}">
                <a16:creationId xmlns:a16="http://schemas.microsoft.com/office/drawing/2014/main" id="{E8E9DAE0-929D-204A-8A94-16B15BBFB04D}"/>
              </a:ext>
            </a:extLst>
          </p:cNvPr>
          <p:cNvSpPr txBox="1"/>
          <p:nvPr userDrawn="1"/>
        </p:nvSpPr>
        <p:spPr>
          <a:xfrm>
            <a:off x="6094800" y="1332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urchaninov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Per. 6/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19034 Moscow, Russi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oscow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7 495 2329635</a:t>
            </a:r>
          </a:p>
        </p:txBody>
      </p:sp>
      <p:sp>
        <p:nvSpPr>
          <p:cNvPr id="25" name="Textfeld 28">
            <a:extLst>
              <a:ext uri="{FF2B5EF4-FFF2-40B4-BE49-F238E27FC236}">
                <a16:creationId xmlns:a16="http://schemas.microsoft.com/office/drawing/2014/main" id="{F0E92675-6F27-F845-BD78-BB70D2932EC9}"/>
              </a:ext>
            </a:extLst>
          </p:cNvPr>
          <p:cNvSpPr txBox="1"/>
          <p:nvPr userDrawn="1"/>
        </p:nvSpPr>
        <p:spPr>
          <a:xfrm>
            <a:off x="3383131" y="4896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a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gnello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121 Milan, Ital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ilan@advant-nctm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9 02 725 511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6" name="Textfeld 29">
            <a:extLst>
              <a:ext uri="{FF2B5EF4-FFF2-40B4-BE49-F238E27FC236}">
                <a16:creationId xmlns:a16="http://schemas.microsoft.com/office/drawing/2014/main" id="{E786AFB4-1F43-DB4F-9DA7-3DB79BDDC549}"/>
              </a:ext>
            </a:extLst>
          </p:cNvPr>
          <p:cNvSpPr txBox="1"/>
          <p:nvPr userDrawn="1"/>
        </p:nvSpPr>
        <p:spPr>
          <a:xfrm>
            <a:off x="3385673" y="36864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 Bruton Stree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, W1J6QZ, United Kingd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ondon@advant-nctm.co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+44 20 73759900</a:t>
            </a:r>
          </a:p>
        </p:txBody>
      </p:sp>
      <p:sp>
        <p:nvSpPr>
          <p:cNvPr id="27" name="Textfeld 31">
            <a:extLst>
              <a:ext uri="{FF2B5EF4-FFF2-40B4-BE49-F238E27FC236}">
                <a16:creationId xmlns:a16="http://schemas.microsoft.com/office/drawing/2014/main" id="{4E3CA650-D8A1-7E44-9548-EA9D1A731E6D}"/>
              </a:ext>
            </a:extLst>
          </p:cNvPr>
          <p:cNvSpPr txBox="1"/>
          <p:nvPr userDrawn="1"/>
        </p:nvSpPr>
        <p:spPr>
          <a:xfrm>
            <a:off x="3385674" y="25128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u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Wall 72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0354 Hamburg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ambur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40 688745-0</a:t>
            </a:r>
          </a:p>
        </p:txBody>
      </p:sp>
      <p:sp>
        <p:nvSpPr>
          <p:cNvPr id="28" name="Textfeld 32">
            <a:extLst>
              <a:ext uri="{FF2B5EF4-FFF2-40B4-BE49-F238E27FC236}">
                <a16:creationId xmlns:a16="http://schemas.microsoft.com/office/drawing/2014/main" id="{DD02873D-DDE5-F042-BCEA-68F531AF8101}"/>
              </a:ext>
            </a:extLst>
          </p:cNvPr>
          <p:cNvSpPr txBox="1"/>
          <p:nvPr userDrawn="1"/>
        </p:nvSpPr>
        <p:spPr>
          <a:xfrm>
            <a:off x="3390757" y="133200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ainzer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andstrass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36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60325 Frankfurt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rankfurt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69 756095-0</a:t>
            </a:r>
          </a:p>
        </p:txBody>
      </p:sp>
      <p:sp>
        <p:nvSpPr>
          <p:cNvPr id="29" name="Textfeld 38">
            <a:extLst>
              <a:ext uri="{FF2B5EF4-FFF2-40B4-BE49-F238E27FC236}">
                <a16:creationId xmlns:a16="http://schemas.microsoft.com/office/drawing/2014/main" id="{708795EF-6739-AC44-821E-ED0A476F1F42}"/>
              </a:ext>
            </a:extLst>
          </p:cNvPr>
          <p:cNvSpPr txBox="1"/>
          <p:nvPr userDrawn="1"/>
        </p:nvSpPr>
        <p:spPr>
          <a:xfrm>
            <a:off x="828555" y="4090204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venue Louise 489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50 Brussels, Belgium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russels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32 2 6390000</a:t>
            </a:r>
          </a:p>
        </p:txBody>
      </p:sp>
      <p:sp>
        <p:nvSpPr>
          <p:cNvPr id="30" name="Textfeld 49">
            <a:extLst>
              <a:ext uri="{FF2B5EF4-FFF2-40B4-BE49-F238E27FC236}">
                <a16:creationId xmlns:a16="http://schemas.microsoft.com/office/drawing/2014/main" id="{F1A9B0F2-0E61-744D-9B09-B51E2D0E6D16}"/>
              </a:ext>
            </a:extLst>
          </p:cNvPr>
          <p:cNvSpPr txBox="1"/>
          <p:nvPr userDrawn="1"/>
        </p:nvSpPr>
        <p:spPr>
          <a:xfrm>
            <a:off x="828556" y="2956595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ützowplatz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10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785 Berlin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rlin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30 26471-0</a:t>
            </a:r>
          </a:p>
        </p:txBody>
      </p:sp>
      <p:sp>
        <p:nvSpPr>
          <p:cNvPr id="31" name="Textfeld 50">
            <a:extLst>
              <a:ext uri="{FF2B5EF4-FFF2-40B4-BE49-F238E27FC236}">
                <a16:creationId xmlns:a16="http://schemas.microsoft.com/office/drawing/2014/main" id="{92FF8C0B-3FB7-5D49-922D-9C3C2910115D}"/>
              </a:ext>
            </a:extLst>
          </p:cNvPr>
          <p:cNvSpPr txBox="1"/>
          <p:nvPr userDrawn="1"/>
        </p:nvSpPr>
        <p:spPr>
          <a:xfrm>
            <a:off x="828557" y="1332406"/>
            <a:ext cx="2562203" cy="1610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uite 3130, 31st Floo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outh Office Tower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 Kerry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ntre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uang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Hua Road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hao Yang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istrict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00020 Beijing, China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ijing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86 10 85298110</a:t>
            </a:r>
          </a:p>
        </p:txBody>
      </p:sp>
      <p:sp>
        <p:nvSpPr>
          <p:cNvPr id="32" name="Textfeld 33">
            <a:extLst>
              <a:ext uri="{FF2B5EF4-FFF2-40B4-BE49-F238E27FC236}">
                <a16:creationId xmlns:a16="http://schemas.microsoft.com/office/drawing/2014/main" id="{633A231D-39A5-2D4C-BE23-A1CBA2D984DC}"/>
              </a:ext>
            </a:extLst>
          </p:cNvPr>
          <p:cNvSpPr txBox="1"/>
          <p:nvPr userDrawn="1"/>
        </p:nvSpPr>
        <p:spPr>
          <a:xfrm>
            <a:off x="823470" y="5124410"/>
            <a:ext cx="2562203" cy="9448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Cecilienallee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7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0474 Dusseldorf, Germany</a:t>
            </a: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usseldorf@advant-beiten.com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  <a:p>
            <a:pPr marL="0" marR="0" lvl="1" indent="0" algn="l" defTabSz="914400" rtl="0" eaLnBrk="1" fontAlgn="auto" latinLnBrk="0" hangingPunct="1">
              <a:lnSpc>
                <a:spcPts val="8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+49 211 518989-0</a:t>
            </a:r>
          </a:p>
        </p:txBody>
      </p:sp>
    </p:spTree>
    <p:extLst>
      <p:ext uri="{BB962C8B-B14F-4D97-AF65-F5344CB8AC3E}">
        <p14:creationId xmlns:p14="http://schemas.microsoft.com/office/powerpoint/2010/main" val="6704628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3_IMAGE">
    <p:bg>
      <p:bgPr>
        <a:blipFill dpi="0" rotWithShape="1">
          <a:blip r:embed="rId2">
            <a:lum/>
          </a:blip>
          <a:srcRect/>
          <a:stretch>
            <a:fillRect t="20000" b="-2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>
            <a:extLst>
              <a:ext uri="{FF2B5EF4-FFF2-40B4-BE49-F238E27FC236}">
                <a16:creationId xmlns:a16="http://schemas.microsoft.com/office/drawing/2014/main" id="{073E1661-90C9-A44A-B475-EB13EFC944CC}"/>
              </a:ext>
            </a:extLst>
          </p:cNvPr>
          <p:cNvSpPr/>
          <p:nvPr userDrawn="1"/>
        </p:nvSpPr>
        <p:spPr>
          <a:xfrm>
            <a:off x="0" y="0"/>
            <a:ext cx="9987280" cy="6858000"/>
          </a:xfrm>
          <a:custGeom>
            <a:avLst/>
            <a:gdLst>
              <a:gd name="connsiteX0" fmla="*/ 9987276 w 9987280"/>
              <a:gd name="connsiteY0" fmla="*/ 0 h 6858000"/>
              <a:gd name="connsiteX1" fmla="*/ 9987280 w 9987280"/>
              <a:gd name="connsiteY1" fmla="*/ 0 h 6858000"/>
              <a:gd name="connsiteX2" fmla="*/ 9987280 w 9987280"/>
              <a:gd name="connsiteY2" fmla="*/ 6858000 h 6858000"/>
              <a:gd name="connsiteX3" fmla="*/ 9987276 w 9987280"/>
              <a:gd name="connsiteY3" fmla="*/ 6858000 h 6858000"/>
              <a:gd name="connsiteX4" fmla="*/ 0 w 9987280"/>
              <a:gd name="connsiteY4" fmla="*/ 0 h 6858000"/>
              <a:gd name="connsiteX5" fmla="*/ 9987276 w 9987280"/>
              <a:gd name="connsiteY5" fmla="*/ 0 h 6858000"/>
              <a:gd name="connsiteX6" fmla="*/ 7056150 w 9987280"/>
              <a:gd name="connsiteY6" fmla="*/ 6858000 h 6858000"/>
              <a:gd name="connsiteX7" fmla="*/ 0 w 998728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87280" h="6858000">
                <a:moveTo>
                  <a:pt x="9987276" y="0"/>
                </a:moveTo>
                <a:lnTo>
                  <a:pt x="9987280" y="0"/>
                </a:lnTo>
                <a:lnTo>
                  <a:pt x="9987280" y="6858000"/>
                </a:lnTo>
                <a:lnTo>
                  <a:pt x="9987276" y="6858000"/>
                </a:lnTo>
                <a:close/>
                <a:moveTo>
                  <a:pt x="0" y="0"/>
                </a:moveTo>
                <a:lnTo>
                  <a:pt x="9987276" y="0"/>
                </a:lnTo>
                <a:lnTo>
                  <a:pt x="70561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ADEE1CB-B0DB-B345-98F2-24F930C506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74652" y="6154997"/>
            <a:ext cx="1784456" cy="294231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2D323905-EE9D-B144-A3CE-79B7C748DEC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35025" y="6376777"/>
            <a:ext cx="1660525" cy="336918"/>
          </a:xfrm>
          <a:prstGeom prst="rect">
            <a:avLst/>
          </a:prstGeom>
        </p:spPr>
      </p:pic>
      <p:sp>
        <p:nvSpPr>
          <p:cNvPr id="10" name="Titelplatzhalter 1">
            <a:extLst>
              <a:ext uri="{FF2B5EF4-FFF2-40B4-BE49-F238E27FC236}">
                <a16:creationId xmlns:a16="http://schemas.microsoft.com/office/drawing/2014/main" id="{C8213446-0680-B24A-AEFC-10F8E03F78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tx2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12" name="Textplatzhalter 2">
            <a:extLst>
              <a:ext uri="{FF2B5EF4-FFF2-40B4-BE49-F238E27FC236}">
                <a16:creationId xmlns:a16="http://schemas.microsoft.com/office/drawing/2014/main" id="{55D2197D-3174-5348-A833-37AB9B2463F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</p:spTree>
    <p:extLst>
      <p:ext uri="{BB962C8B-B14F-4D97-AF65-F5344CB8AC3E}">
        <p14:creationId xmlns:p14="http://schemas.microsoft.com/office/powerpoint/2010/main" val="2393991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95F1C191-76C3-C447-A5DC-2BF7591CE9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5024" y="6376778"/>
            <a:ext cx="1660525" cy="336917"/>
          </a:xfrm>
          <a:prstGeom prst="rect">
            <a:avLst/>
          </a:prstGeom>
        </p:spPr>
      </p:pic>
      <p:sp>
        <p:nvSpPr>
          <p:cNvPr id="5" name="Titelplatzhalter 1">
            <a:extLst>
              <a:ext uri="{FF2B5EF4-FFF2-40B4-BE49-F238E27FC236}">
                <a16:creationId xmlns:a16="http://schemas.microsoft.com/office/drawing/2014/main" id="{3F335040-8AB7-E94A-8E3A-71A9CD444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2044868"/>
            <a:ext cx="6289849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>
              <a:defRPr sz="3400" b="1" i="0" cap="all" baseline="0">
                <a:solidFill>
                  <a:schemeClr val="bg1"/>
                </a:solidFill>
                <a:latin typeface="Verdana" panose="020B0604030504040204" pitchFamily="34" charset="0"/>
              </a:defRPr>
            </a:lvl1pPr>
          </a:lstStyle>
          <a:p>
            <a:r>
              <a:rPr lang="de-DE" dirty="0"/>
              <a:t>CHAPTER TITLE</a:t>
            </a:r>
            <a:endParaRPr lang="en-US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538425EB-8B48-E24C-BA2A-9AD97298FFA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3417102"/>
            <a:ext cx="6289849" cy="10563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SUBTITLE LOREM IPSUM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739E62E-182F-374E-90F6-C13C4D8E86B2}"/>
              </a:ext>
            </a:extLst>
          </p:cNvPr>
          <p:cNvGrpSpPr/>
          <p:nvPr userDrawn="1"/>
        </p:nvGrpSpPr>
        <p:grpSpPr>
          <a:xfrm>
            <a:off x="7056150" y="0"/>
            <a:ext cx="5135850" cy="6858000"/>
            <a:chOff x="7056150" y="0"/>
            <a:chExt cx="5135850" cy="6858000"/>
          </a:xfrm>
          <a:solidFill>
            <a:schemeClr val="bg1"/>
          </a:solidFill>
        </p:grpSpPr>
        <p:sp>
          <p:nvSpPr>
            <p:cNvPr id="9" name="Rechteck 8">
              <a:extLst>
                <a:ext uri="{FF2B5EF4-FFF2-40B4-BE49-F238E27FC236}">
                  <a16:creationId xmlns:a16="http://schemas.microsoft.com/office/drawing/2014/main" id="{3BBA08C7-29D2-5646-BBB1-A98EB10DE059}"/>
                </a:ext>
              </a:extLst>
            </p:cNvPr>
            <p:cNvSpPr/>
            <p:nvPr userDrawn="1"/>
          </p:nvSpPr>
          <p:spPr>
            <a:xfrm>
              <a:off x="9987280" y="0"/>
              <a:ext cx="220472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htwinkliges Dreieck 9">
              <a:extLst>
                <a:ext uri="{FF2B5EF4-FFF2-40B4-BE49-F238E27FC236}">
                  <a16:creationId xmlns:a16="http://schemas.microsoft.com/office/drawing/2014/main" id="{8216667B-8E45-AE4C-8124-95BBB240342F}"/>
                </a:ext>
              </a:extLst>
            </p:cNvPr>
            <p:cNvSpPr/>
            <p:nvPr userDrawn="1"/>
          </p:nvSpPr>
          <p:spPr>
            <a:xfrm flipH="1">
              <a:off x="7056150" y="0"/>
              <a:ext cx="2931126" cy="6858000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911550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DB335BC-B597-C243-82FD-C43056E620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u="none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sz="1100" b="0" i="0">
                <a:solidFill>
                  <a:schemeClr val="bg2"/>
                </a:solidFill>
                <a:latin typeface="Verdana" panose="020B0604030504040204" pitchFamily="34" charset="0"/>
              </a:defRPr>
            </a:lvl3pPr>
          </a:lstStyle>
          <a:p>
            <a:pPr lvl="0"/>
            <a:r>
              <a:rPr lang="en-US" b="1" dirty="0"/>
              <a:t>NAME</a:t>
            </a:r>
            <a:endParaRPr lang="en-US" b="0" dirty="0"/>
          </a:p>
          <a:p>
            <a:pPr lvl="1"/>
            <a:r>
              <a:rPr lang="en-US" b="0" dirty="0"/>
              <a:t>Title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0DA1AF3E-ACAA-E643-A46A-6BF0692E00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1693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42C11DE7-7D7A-F34E-8CDE-8465AC11F6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85187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tx2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697CE51-EBE9-3443-BAF3-F68F3AA0C96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432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_RE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E103720D-C773-6E4C-A4A6-844658241F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 u="none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sz="1100" b="0" i="0">
                <a:solidFill>
                  <a:schemeClr val="bg1"/>
                </a:solidFill>
                <a:latin typeface="Verdana" panose="020B0604030504040204" pitchFamily="34" charset="0"/>
              </a:defRPr>
            </a:lvl3pPr>
          </a:lstStyle>
          <a:p>
            <a:pPr lvl="0"/>
            <a:r>
              <a:rPr lang="en-US" b="1" dirty="0"/>
              <a:t>NAME</a:t>
            </a:r>
            <a:endParaRPr lang="en-US" b="0" dirty="0"/>
          </a:p>
          <a:p>
            <a:pPr lvl="1"/>
            <a:r>
              <a:rPr lang="en-US" b="0" dirty="0"/>
              <a:t>Title</a:t>
            </a:r>
          </a:p>
          <a:p>
            <a:pPr lvl="2"/>
            <a:r>
              <a:rPr lang="en-US" b="0" dirty="0"/>
              <a:t>E-Mail Address</a:t>
            </a:r>
          </a:p>
          <a:p>
            <a:pPr lvl="2"/>
            <a:r>
              <a:rPr lang="en-US" b="0" dirty="0"/>
              <a:t>T:</a:t>
            </a:r>
          </a:p>
          <a:p>
            <a:pPr lvl="2"/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DD7EBA9F-243A-F449-A22B-F73A4FC67E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61693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38177F7C-14D9-A241-B494-884D6358D43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85187" y="4806202"/>
            <a:ext cx="2868613" cy="10144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1pPr>
            <a:lvl2pPr marL="11113" indent="0">
              <a:buNone/>
              <a:tabLst/>
              <a:defRPr sz="1400" b="0" i="0">
                <a:solidFill>
                  <a:schemeClr val="bg1"/>
                </a:solidFill>
                <a:latin typeface="Verdana" panose="020B0604030504040204" pitchFamily="34" charset="0"/>
              </a:defRPr>
            </a:lvl2pPr>
            <a:lvl3pPr marL="11113" indent="0">
              <a:buNone/>
              <a:tabLst/>
              <a:defRPr lang="de-DE" sz="1100" b="0" i="0" kern="1200" dirty="0" smtClean="0">
                <a:solidFill>
                  <a:schemeClr val="bg1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</a:lstStyle>
          <a:p>
            <a:pPr lvl="0"/>
            <a:r>
              <a:rPr lang="de-DE" b="1" dirty="0"/>
              <a:t>NAME</a:t>
            </a:r>
            <a:endParaRPr lang="en-US" b="1" dirty="0"/>
          </a:p>
          <a:p>
            <a:pPr lvl="1"/>
            <a:r>
              <a:rPr lang="en-US" b="0" dirty="0"/>
              <a:t>Title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E-Mail Address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T:</a:t>
            </a:r>
          </a:p>
          <a:p>
            <a:pPr marL="11113" lvl="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</a:pPr>
            <a:r>
              <a:rPr lang="en-US" b="0" dirty="0"/>
              <a:t>M:</a:t>
            </a:r>
            <a:endParaRPr lang="de-DE" b="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F1525108-D274-E848-92DD-40979F58535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3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29707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_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feld 4">
            <a:extLst>
              <a:ext uri="{FF2B5EF4-FFF2-40B4-BE49-F238E27FC236}">
                <a16:creationId xmlns:a16="http://schemas.microsoft.com/office/drawing/2014/main" id="{F421309D-F7D8-9B49-BC82-223DE54B3B8A}"/>
              </a:ext>
            </a:extLst>
          </p:cNvPr>
          <p:cNvSpPr txBox="1"/>
          <p:nvPr userDrawn="1"/>
        </p:nvSpPr>
        <p:spPr>
          <a:xfrm>
            <a:off x="846000" y="5850000"/>
            <a:ext cx="7708023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noProof="0" dirty="0">
                <a:solidFill>
                  <a:schemeClr val="bg2"/>
                </a:solidFill>
              </a:rPr>
              <a:t>BEIJING | BERLIN | BRUSSELS | DUSSELDORF | FRANKFURT | HAMBURG </a:t>
            </a:r>
            <a:br>
              <a:rPr lang="en-US" sz="1100" noProof="0" dirty="0">
                <a:solidFill>
                  <a:schemeClr val="bg2"/>
                </a:solidFill>
              </a:rPr>
            </a:br>
            <a:r>
              <a:rPr lang="en-US" sz="1100" noProof="0" dirty="0">
                <a:solidFill>
                  <a:schemeClr val="bg2"/>
                </a:solidFill>
              </a:rPr>
              <a:t>LONDON | MILAN | MOSCOW | MUNICH | PARIS | ROME | SHANGHAI</a:t>
            </a:r>
          </a:p>
          <a:p>
            <a:endParaRPr lang="en-US" sz="1100" dirty="0">
              <a:solidFill>
                <a:schemeClr val="bg2"/>
              </a:solidFill>
            </a:endParaRPr>
          </a:p>
          <a:p>
            <a:r>
              <a:rPr lang="en-US" sz="1700" b="1" dirty="0">
                <a:solidFill>
                  <a:schemeClr val="tx2"/>
                </a:solidFill>
              </a:rPr>
              <a:t>ADVANT-NCTM.COM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9AC9BD4-AFF0-0148-8501-BC12E7B2F7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11653" y="1070512"/>
            <a:ext cx="3291794" cy="66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7201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9" Type="http://schemas.openxmlformats.org/officeDocument/2006/relationships/theme" Target="../theme/theme2.xml"/><Relationship Id="rId21" Type="http://schemas.openxmlformats.org/officeDocument/2006/relationships/slideLayout" Target="../slideLayouts/slideLayout31.xml"/><Relationship Id="rId34" Type="http://schemas.openxmlformats.org/officeDocument/2006/relationships/slideLayout" Target="../slideLayouts/slideLayout4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41" Type="http://schemas.openxmlformats.org/officeDocument/2006/relationships/oleObject" Target="../embeddings/oleObject2.bin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slideLayout" Target="../slideLayouts/slideLayout41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1A7DADD-3652-4D78-B96F-B65596EC75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870079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38" imgH="338" progId="TCLayout.ActiveDocument.1">
                  <p:embed/>
                </p:oleObj>
              </mc:Choice>
              <mc:Fallback>
                <p:oleObj name="think-cell Folie" r:id="rId13" imgW="338" imgH="33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1A7DADD-3652-4D78-B96F-B65596EC75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38935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20" r:id="rId3"/>
    <p:sldLayoutId id="2147483721" r:id="rId4"/>
    <p:sldLayoutId id="2147483722" r:id="rId5"/>
    <p:sldLayoutId id="2147483723" r:id="rId6"/>
    <p:sldLayoutId id="2147483709" r:id="rId7"/>
    <p:sldLayoutId id="2147483710" r:id="rId8"/>
    <p:sldLayoutId id="2147483711" r:id="rId9"/>
    <p:sldLayoutId id="2147483717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362C9A3-5E61-4F54-9297-A4554C5EBE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4227074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1" imgW="338" imgH="338" progId="TCLayout.ActiveDocument.1">
                  <p:embed/>
                </p:oleObj>
              </mc:Choice>
              <mc:Fallback>
                <p:oleObj name="think-cell Folie" r:id="rId41" imgW="338" imgH="33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362C9A3-5E61-4F54-9297-A4554C5EBE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591A0000-7370-1A4F-B314-07E1F7C58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1" y="540000"/>
            <a:ext cx="10514397" cy="52422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de-DE" dirty="0"/>
              <a:t>PAGE TITLE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CC1947C0-00A9-BB46-AC2A-7999C074F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56843" y="6398000"/>
            <a:ext cx="3963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EC149C93-043E-1946-99C3-1562491FBCE9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2775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68" r:id="rId2"/>
    <p:sldLayoutId id="2147483689" r:id="rId3"/>
    <p:sldLayoutId id="2147483667" r:id="rId4"/>
    <p:sldLayoutId id="2147483726" r:id="rId5"/>
    <p:sldLayoutId id="2147483671" r:id="rId6"/>
    <p:sldLayoutId id="2147483727" r:id="rId7"/>
    <p:sldLayoutId id="2147483692" r:id="rId8"/>
    <p:sldLayoutId id="2147483685" r:id="rId9"/>
    <p:sldLayoutId id="2147483728" r:id="rId10"/>
    <p:sldLayoutId id="2147483725" r:id="rId11"/>
    <p:sldLayoutId id="2147483686" r:id="rId12"/>
    <p:sldLayoutId id="2147483729" r:id="rId13"/>
    <p:sldLayoutId id="2147483724" r:id="rId14"/>
    <p:sldLayoutId id="2147483696" r:id="rId15"/>
    <p:sldLayoutId id="2147483698" r:id="rId16"/>
    <p:sldLayoutId id="2147483697" r:id="rId17"/>
    <p:sldLayoutId id="2147483699" r:id="rId18"/>
    <p:sldLayoutId id="2147483702" r:id="rId19"/>
    <p:sldLayoutId id="2147483701" r:id="rId20"/>
    <p:sldLayoutId id="2147483715" r:id="rId21"/>
    <p:sldLayoutId id="2147483716" r:id="rId22"/>
    <p:sldLayoutId id="2147483700" r:id="rId23"/>
    <p:sldLayoutId id="2147483714" r:id="rId24"/>
    <p:sldLayoutId id="2147483736" r:id="rId25"/>
    <p:sldLayoutId id="2147483674" r:id="rId26"/>
    <p:sldLayoutId id="2147483683" r:id="rId27"/>
    <p:sldLayoutId id="2147483695" r:id="rId28"/>
    <p:sldLayoutId id="2147483682" r:id="rId29"/>
    <p:sldLayoutId id="2147483694" r:id="rId30"/>
    <p:sldLayoutId id="2147483690" r:id="rId31"/>
    <p:sldLayoutId id="2147483679" r:id="rId32"/>
    <p:sldLayoutId id="2147483681" r:id="rId33"/>
    <p:sldLayoutId id="2147483680" r:id="rId34"/>
    <p:sldLayoutId id="2147483712" r:id="rId35"/>
    <p:sldLayoutId id="2147483713" r:id="rId36"/>
    <p:sldLayoutId id="2147483740" r:id="rId37"/>
    <p:sldLayoutId id="2147483741" r:id="rId3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 cap="all" baseline="0">
          <a:solidFill>
            <a:schemeClr val="tx2"/>
          </a:solidFill>
          <a:latin typeface="Verdana" panose="020B0604030504040204" pitchFamily="34" charset="0"/>
          <a:ea typeface="+mj-ea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0.xml"/><Relationship Id="rId7" Type="http://schemas.openxmlformats.org/officeDocument/2006/relationships/image" Target="../media/image7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10.xml"/><Relationship Id="rId5" Type="http://schemas.openxmlformats.org/officeDocument/2006/relationships/diagramColors" Target="../diagrams/colors10.xml"/><Relationship Id="rId4" Type="http://schemas.openxmlformats.org/officeDocument/2006/relationships/diagramQuickStyle" Target="../diagrams/quickStyle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554" y="980728"/>
            <a:ext cx="7488832" cy="4680520"/>
          </a:xfrm>
          <a:prstGeom prst="rect">
            <a:avLst/>
          </a:prstGeom>
        </p:spPr>
        <p:txBody>
          <a:bodyPr anchor="ctr"/>
          <a:lstStyle/>
          <a:p>
            <a:pPr algn="ctr"/>
            <a:br>
              <a:rPr lang="it-IT" sz="28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Questioni nuove e controverse in tema di giudizio di appello e di legittimità dopo la riforma Cartabia</a:t>
            </a:r>
            <a:br>
              <a:rPr lang="it-IT" sz="2400" dirty="0">
                <a:solidFill>
                  <a:srgbClr val="941100"/>
                </a:solidFill>
              </a:rPr>
            </a:br>
            <a:br>
              <a:rPr lang="it-IT" sz="2400" dirty="0">
                <a:solidFill>
                  <a:srgbClr val="941100"/>
                </a:solidFill>
              </a:rPr>
            </a:br>
            <a:br>
              <a:rPr lang="it-IT" sz="24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ASSOCIAZIONE RAGIONE &amp; DIRITTO</a:t>
            </a:r>
            <a:br>
              <a:rPr lang="it-IT" sz="24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5 giugno 2023</a:t>
            </a:r>
            <a:br>
              <a:rPr lang="it-IT" sz="2400" dirty="0">
                <a:solidFill>
                  <a:srgbClr val="941100"/>
                </a:solidFill>
              </a:rPr>
            </a:br>
            <a:br>
              <a:rPr lang="it-IT" sz="2400" dirty="0">
                <a:solidFill>
                  <a:srgbClr val="941100"/>
                </a:solidFill>
              </a:rPr>
            </a:br>
            <a:br>
              <a:rPr lang="it-IT" sz="2400" dirty="0">
                <a:solidFill>
                  <a:srgbClr val="941100"/>
                </a:solidFill>
              </a:rPr>
            </a:br>
            <a:br>
              <a:rPr lang="it-IT" sz="24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RIFORMA DEL GIUDIZIO DI CASSAZIONE</a:t>
            </a:r>
            <a:br>
              <a:rPr lang="it-IT" sz="24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artt. 369/380 </a:t>
            </a:r>
            <a:r>
              <a:rPr lang="it-IT" sz="2400" i="1" dirty="0">
                <a:solidFill>
                  <a:srgbClr val="941100"/>
                </a:solidFill>
              </a:rPr>
              <a:t>ter</a:t>
            </a:r>
            <a:br>
              <a:rPr lang="it-IT" sz="2400" dirty="0">
                <a:solidFill>
                  <a:srgbClr val="941100"/>
                </a:solidFill>
              </a:rPr>
            </a:br>
            <a:r>
              <a:rPr lang="it-IT" sz="2400" dirty="0">
                <a:solidFill>
                  <a:srgbClr val="941100"/>
                </a:solidFill>
              </a:rPr>
              <a:t>artt. 390 e 391 </a:t>
            </a:r>
            <a:r>
              <a:rPr lang="it-IT" sz="2400" i="1" dirty="0">
                <a:solidFill>
                  <a:srgbClr val="941100"/>
                </a:solidFill>
              </a:rPr>
              <a:t>bis</a:t>
            </a:r>
            <a:br>
              <a:rPr lang="it-IT" sz="2400" dirty="0">
                <a:solidFill>
                  <a:srgbClr val="941100"/>
                </a:solidFill>
              </a:rPr>
            </a:br>
            <a:endParaRPr lang="it-IT" sz="2400" i="1" dirty="0">
              <a:solidFill>
                <a:srgbClr val="941100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8998A83-166D-1834-DBE0-089EB1B8D40B}"/>
              </a:ext>
            </a:extLst>
          </p:cNvPr>
          <p:cNvSpPr txBox="1"/>
          <p:nvPr/>
        </p:nvSpPr>
        <p:spPr>
          <a:xfrm>
            <a:off x="7709647" y="6237312"/>
            <a:ext cx="27446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b="1" dirty="0">
                <a:solidFill>
                  <a:schemeClr val="bg1"/>
                </a:solidFill>
              </a:rPr>
              <a:t>Avv. Iolanda Boccia</a:t>
            </a:r>
          </a:p>
        </p:txBody>
      </p:sp>
    </p:spTree>
    <p:extLst>
      <p:ext uri="{BB962C8B-B14F-4D97-AF65-F5344CB8AC3E}">
        <p14:creationId xmlns:p14="http://schemas.microsoft.com/office/powerpoint/2010/main" val="273183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791249"/>
            <a:ext cx="8807261" cy="47751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istanze di regolamento di giurisdizione e di competenza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3605798"/>
              </p:ext>
            </p:extLst>
          </p:nvPr>
        </p:nvGraphicFramePr>
        <p:xfrm>
          <a:off x="5281317" y="997850"/>
          <a:ext cx="6910683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968208" y="1700808"/>
            <a:ext cx="1224136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dirty="0">
                <a:solidFill>
                  <a:schemeClr val="bg1"/>
                </a:solidFill>
              </a:rPr>
              <a:t>Regolamento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di 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giurisdizione e di competenza</a:t>
            </a:r>
          </a:p>
          <a:p>
            <a:pPr algn="ctr"/>
            <a:r>
              <a:rPr lang="it-IT" sz="1200" b="1" dirty="0">
                <a:solidFill>
                  <a:schemeClr val="bg1"/>
                </a:solidFill>
              </a:rPr>
              <a:t>(Art. 380 ter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2008094"/>
            <a:ext cx="640871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Stabilita l’importanza di unificare i riti, anche il procedimento per la decisione sulle istanze di giurisdizione e di competenza viene riportato completamente nell’alveo dell’adunanza camerale </a:t>
            </a:r>
            <a:r>
              <a:rPr lang="it-IT" i="1" dirty="0">
                <a:solidFill>
                  <a:srgbClr val="941100"/>
                </a:solidFill>
              </a:rPr>
              <a:t>ex</a:t>
            </a:r>
            <a:r>
              <a:rPr lang="it-IT" dirty="0">
                <a:solidFill>
                  <a:srgbClr val="941100"/>
                </a:solidFill>
              </a:rPr>
              <a:t> art. 380 </a:t>
            </a:r>
            <a:r>
              <a:rPr lang="it-IT" i="1" dirty="0">
                <a:solidFill>
                  <a:srgbClr val="941100"/>
                </a:solidFill>
              </a:rPr>
              <a:t>bis</a:t>
            </a:r>
            <a:r>
              <a:rPr lang="it-IT" dirty="0">
                <a:solidFill>
                  <a:srgbClr val="941100"/>
                </a:solidFill>
              </a:rPr>
              <a:t>.1 c.p.c..</a:t>
            </a:r>
            <a:endParaRPr lang="it-IT" sz="1600" b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F8DFBB83-B1AE-FB5C-BD48-A997268D313C}"/>
              </a:ext>
            </a:extLst>
          </p:cNvPr>
          <p:cNvSpPr txBox="1"/>
          <p:nvPr/>
        </p:nvSpPr>
        <p:spPr>
          <a:xfrm>
            <a:off x="11788346" y="6549081"/>
            <a:ext cx="3161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2136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8856983" cy="66615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CORREZIONE DI ERRORI MATERIALI E REVOCAZIONE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7090473"/>
              </p:ext>
            </p:extLst>
          </p:nvPr>
        </p:nvGraphicFramePr>
        <p:xfrm>
          <a:off x="5281317" y="997850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464152" y="1916832"/>
            <a:ext cx="1440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Correzione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e revocazione 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91 </a:t>
            </a:r>
            <a:r>
              <a:rPr lang="it-IT" sz="1400" b="1" i="1" dirty="0">
                <a:solidFill>
                  <a:schemeClr val="bg1"/>
                </a:solidFill>
              </a:rPr>
              <a:t>bis</a:t>
            </a:r>
            <a:r>
              <a:rPr lang="it-IT" sz="1400" b="1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6816080" y="4725144"/>
            <a:ext cx="144016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Revocazione del P.G.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97, 2° co.)</a:t>
            </a:r>
          </a:p>
          <a:p>
            <a:endParaRPr lang="it-IT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2060848"/>
            <a:ext cx="5832648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La «Riforma» non ha inciso sui motivi che consentono la correzione (per errore materiale o di calcolo) o la revocazione (per errore di fatto </a:t>
            </a:r>
            <a:r>
              <a:rPr lang="it-IT" i="1" dirty="0">
                <a:solidFill>
                  <a:srgbClr val="941100"/>
                </a:solidFill>
              </a:rPr>
              <a:t>ex</a:t>
            </a:r>
            <a:r>
              <a:rPr lang="it-IT" dirty="0">
                <a:solidFill>
                  <a:srgbClr val="941100"/>
                </a:solidFill>
              </a:rPr>
              <a:t> art. 395 n. 4), ma in ossequio all’unificazione dei riti, il procedimento sarà trattato con adunanza camerale, </a:t>
            </a:r>
            <a:r>
              <a:rPr lang="it-IT" b="1" dirty="0">
                <a:solidFill>
                  <a:srgbClr val="941100"/>
                </a:solidFill>
              </a:rPr>
              <a:t>tranne</a:t>
            </a:r>
            <a:r>
              <a:rPr lang="it-IT" dirty="0">
                <a:solidFill>
                  <a:srgbClr val="941100"/>
                </a:solidFill>
              </a:rPr>
              <a:t> i casi in cui ricorra una questione di diritto particolarmente rilevante nonché le ipotesi di revocazione per contrarietà alla CEDU (art. 391 </a:t>
            </a:r>
            <a:r>
              <a:rPr lang="it-IT" i="1" dirty="0">
                <a:solidFill>
                  <a:srgbClr val="941100"/>
                </a:solidFill>
              </a:rPr>
              <a:t>quater</a:t>
            </a:r>
            <a:r>
              <a:rPr lang="it-IT" dirty="0">
                <a:solidFill>
                  <a:srgbClr val="941100"/>
                </a:solidFill>
              </a:rPr>
              <a:t>)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D462508-957C-874E-6CC7-96CA9FFF7195}"/>
              </a:ext>
            </a:extLst>
          </p:cNvPr>
          <p:cNvSpPr txBox="1"/>
          <p:nvPr/>
        </p:nvSpPr>
        <p:spPr>
          <a:xfrm>
            <a:off x="11851341" y="6544235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lang="it-IT" dirty="0">
              <a:solidFill>
                <a:schemeClr val="bg1"/>
              </a:solidFill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4798764-4605-1774-D383-7CC7A644590D}"/>
              </a:ext>
            </a:extLst>
          </p:cNvPr>
          <p:cNvSpPr txBox="1"/>
          <p:nvPr/>
        </p:nvSpPr>
        <p:spPr>
          <a:xfrm>
            <a:off x="2895245" y="5589240"/>
            <a:ext cx="2768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b="1" dirty="0">
                <a:solidFill>
                  <a:srgbClr val="941100"/>
                </a:solidFill>
              </a:rPr>
              <a:t>ARTT. 391 </a:t>
            </a:r>
            <a:r>
              <a:rPr lang="it-IT" b="1" i="1" dirty="0">
                <a:solidFill>
                  <a:srgbClr val="941100"/>
                </a:solidFill>
              </a:rPr>
              <a:t>bis</a:t>
            </a:r>
            <a:r>
              <a:rPr lang="it-IT" b="1" dirty="0">
                <a:solidFill>
                  <a:srgbClr val="941100"/>
                </a:solidFill>
              </a:rPr>
              <a:t> e 375</a:t>
            </a:r>
          </a:p>
        </p:txBody>
      </p:sp>
      <p:sp>
        <p:nvSpPr>
          <p:cNvPr id="10" name="Freccia giù 9">
            <a:extLst>
              <a:ext uri="{FF2B5EF4-FFF2-40B4-BE49-F238E27FC236}">
                <a16:creationId xmlns:a16="http://schemas.microsoft.com/office/drawing/2014/main" id="{AC29805A-759C-54EB-8A0B-0AF3CCFA9866}"/>
              </a:ext>
            </a:extLst>
          </p:cNvPr>
          <p:cNvSpPr/>
          <p:nvPr/>
        </p:nvSpPr>
        <p:spPr>
          <a:xfrm>
            <a:off x="4007768" y="5013176"/>
            <a:ext cx="484632" cy="360000"/>
          </a:xfrm>
          <a:prstGeom prst="downArrow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144758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9FF7F0-964B-444C-92E6-0F640E9EB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3" y="262766"/>
            <a:ext cx="11428584" cy="656752"/>
          </a:xfrm>
        </p:spPr>
        <p:txBody>
          <a:bodyPr/>
          <a:lstStyle/>
          <a:p>
            <a:r>
              <a:rPr lang="it-IT" dirty="0">
                <a:solidFill>
                  <a:srgbClr val="941100"/>
                </a:solidFill>
              </a:rPr>
              <a:t>Disciplina transitori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2D88998-B877-244F-BB17-970C3DD2E6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5520" y="692696"/>
            <a:ext cx="7056784" cy="656752"/>
          </a:xfrm>
        </p:spPr>
        <p:txBody>
          <a:bodyPr/>
          <a:lstStyle/>
          <a:p>
            <a:r>
              <a:rPr lang="it-IT" b="1" dirty="0">
                <a:solidFill>
                  <a:srgbClr val="941100"/>
                </a:solidFill>
              </a:rPr>
              <a:t>(ART. 35 </a:t>
            </a:r>
            <a:r>
              <a:rPr lang="it-IT" b="1" dirty="0" err="1">
                <a:solidFill>
                  <a:srgbClr val="941100"/>
                </a:solidFill>
              </a:rPr>
              <a:t>D.Lgs.</a:t>
            </a:r>
            <a:r>
              <a:rPr lang="it-IT" b="1" dirty="0">
                <a:solidFill>
                  <a:srgbClr val="941100"/>
                </a:solidFill>
              </a:rPr>
              <a:t> 149/2022 cd. «Riforma Cartabia»)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344682A5-DA10-444A-BD37-5A9956893E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4" y="976472"/>
            <a:ext cx="936104" cy="936104"/>
          </a:xfrm>
          <a:prstGeom prst="rect">
            <a:avLst/>
          </a:prstGeom>
        </p:spPr>
      </p:pic>
      <p:sp>
        <p:nvSpPr>
          <p:cNvPr id="11" name="Segnaposto testo 5">
            <a:extLst>
              <a:ext uri="{FF2B5EF4-FFF2-40B4-BE49-F238E27FC236}">
                <a16:creationId xmlns:a16="http://schemas.microsoft.com/office/drawing/2014/main" id="{C8BC5669-D0C4-564E-A386-B40BC3D5D988}"/>
              </a:ext>
            </a:extLst>
          </p:cNvPr>
          <p:cNvSpPr txBox="1">
            <a:spLocks/>
          </p:cNvSpPr>
          <p:nvPr/>
        </p:nvSpPr>
        <p:spPr>
          <a:xfrm>
            <a:off x="263352" y="1972373"/>
            <a:ext cx="11809312" cy="1456627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285750" indent="-28575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36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>
              <a:solidFill>
                <a:schemeClr val="accent4"/>
              </a:solidFill>
            </a:endParaRPr>
          </a:p>
        </p:txBody>
      </p:sp>
      <p:graphicFrame>
        <p:nvGraphicFramePr>
          <p:cNvPr id="4" name="Tabella 3">
            <a:extLst>
              <a:ext uri="{FF2B5EF4-FFF2-40B4-BE49-F238E27FC236}">
                <a16:creationId xmlns:a16="http://schemas.microsoft.com/office/drawing/2014/main" id="{A76EBFBD-FA87-693B-2F16-36F7A2CE62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262084"/>
              </p:ext>
            </p:extLst>
          </p:nvPr>
        </p:nvGraphicFramePr>
        <p:xfrm>
          <a:off x="1559496" y="1196752"/>
          <a:ext cx="9937104" cy="49635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929736">
                  <a:extLst>
                    <a:ext uri="{9D8B030D-6E8A-4147-A177-3AD203B41FA5}">
                      <a16:colId xmlns:a16="http://schemas.microsoft.com/office/drawing/2014/main" val="1015008821"/>
                    </a:ext>
                  </a:extLst>
                </a:gridCol>
                <a:gridCol w="5007368">
                  <a:extLst>
                    <a:ext uri="{9D8B030D-6E8A-4147-A177-3AD203B41FA5}">
                      <a16:colId xmlns:a16="http://schemas.microsoft.com/office/drawing/2014/main" val="3861303143"/>
                    </a:ext>
                  </a:extLst>
                </a:gridCol>
              </a:tblGrid>
              <a:tr h="432048">
                <a:tc gridSpan="2">
                  <a:txBody>
                    <a:bodyPr/>
                    <a:lstStyle/>
                    <a:p>
                      <a:pPr algn="ctr"/>
                      <a:endParaRPr lang="it-IT" sz="800" dirty="0">
                        <a:effectLst/>
                      </a:endParaRPr>
                    </a:p>
                    <a:p>
                      <a:pPr algn="ctr"/>
                      <a:r>
                        <a:rPr lang="it-IT" sz="800" dirty="0">
                          <a:effectLst/>
                        </a:rPr>
                        <a:t>Art. 35 del </a:t>
                      </a:r>
                      <a:r>
                        <a:rPr lang="it-IT" sz="800" dirty="0" err="1">
                          <a:effectLst/>
                        </a:rPr>
                        <a:t>D.Lgs.</a:t>
                      </a:r>
                      <a:r>
                        <a:rPr lang="it-IT" sz="800" dirty="0">
                          <a:effectLst/>
                        </a:rPr>
                        <a:t> 149/2022</a:t>
                      </a:r>
                      <a:endParaRPr lang="it-IT" sz="1000" dirty="0">
                        <a:effectLst/>
                      </a:endParaRPr>
                    </a:p>
                    <a:p>
                      <a:pPr algn="ctr"/>
                      <a:r>
                        <a:rPr lang="it-IT" sz="800" dirty="0">
                          <a:effectLst/>
                        </a:rPr>
                        <a:t>Disciplina transitoria</a:t>
                      </a:r>
                      <a:endParaRPr lang="it-IT" sz="1000" dirty="0">
                        <a:effectLst/>
                      </a:endParaRPr>
                    </a:p>
                    <a:p>
                      <a:pPr algn="ctr"/>
                      <a:r>
                        <a:rPr lang="it-IT" sz="800" dirty="0">
                          <a:effectLst/>
                        </a:rPr>
                        <a:t>(FOCUS SUI PROCEDIMENTI IN CASSAZIONE</a:t>
                      </a:r>
                    </a:p>
                  </a:txBody>
                  <a:tcPr marL="57903" marR="57903" marT="0" marB="0"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4896375"/>
                  </a:ext>
                </a:extLst>
              </a:tr>
              <a:tr h="2334694">
                <a:tc>
                  <a:txBody>
                    <a:bodyPr/>
                    <a:lstStyle/>
                    <a:p>
                      <a:endParaRPr lang="it-IT" sz="10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Obbligo di deposito telematico degli atti 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tranne per i dipendenti che stanno in giudizio in rappresentanza delle loro amministrazioni: al 28 febbraio 2023) </a:t>
                      </a:r>
                      <a:endParaRPr lang="it-IT" sz="1000" dirty="0">
                        <a:effectLst/>
                      </a:endParaRPr>
                    </a:p>
                    <a:p>
                      <a:endParaRPr lang="it-IT" sz="10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Decorrenza termini impugnazioni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326 c.p.c.)</a:t>
                      </a:r>
                    </a:p>
                    <a:p>
                      <a:endParaRPr lang="it-IT" sz="10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it-IT" sz="10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Direzione dell’udienza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127 c.p.c.)</a:t>
                      </a:r>
                    </a:p>
                    <a:p>
                      <a:r>
                        <a:rPr lang="it-IT" sz="1000" dirty="0">
                          <a:effectLst/>
                        </a:rPr>
                        <a:t>Svolgimento delle udienze da remoto 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127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dirty="0">
                          <a:effectLst/>
                        </a:rPr>
                        <a:t> c.p.c.) </a:t>
                      </a:r>
                      <a:endParaRPr lang="it-IT" sz="10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Sostituzione dell’udienza con il deposito di note scritte 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127</a:t>
                      </a:r>
                      <a:r>
                        <a:rPr lang="it-IT" sz="900" i="1" dirty="0">
                          <a:effectLst/>
                        </a:rPr>
                        <a:t>ter</a:t>
                      </a:r>
                      <a:r>
                        <a:rPr lang="it-IT" sz="900" dirty="0">
                          <a:effectLst/>
                        </a:rPr>
                        <a:t> c.p.c.) </a:t>
                      </a:r>
                    </a:p>
                    <a:p>
                      <a:r>
                        <a:rPr lang="it-IT" sz="1000" dirty="0">
                          <a:effectLst/>
                        </a:rPr>
                        <a:t>Udienza con collegamenti audiovisivi a distanza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196</a:t>
                      </a:r>
                      <a:r>
                        <a:rPr lang="it-IT" sz="900" i="1" dirty="0">
                          <a:effectLst/>
                        </a:rPr>
                        <a:t>duodecies</a:t>
                      </a:r>
                      <a:r>
                        <a:rPr lang="it-IT" sz="900" dirty="0">
                          <a:effectLst/>
                        </a:rPr>
                        <a:t> D.A. c.p.c.)</a:t>
                      </a:r>
                    </a:p>
                    <a:p>
                      <a:r>
                        <a:rPr lang="it-IT" sz="800" dirty="0">
                          <a:effectLst/>
                        </a:rPr>
                        <a:t> </a:t>
                      </a:r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tc>
                  <a:txBody>
                    <a:bodyPr/>
                    <a:lstStyle/>
                    <a:p>
                      <a:endParaRPr lang="it-IT" sz="10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Dal 1° gennaio 2023 anche ai procedimenti pendenti presso:</a:t>
                      </a:r>
                    </a:p>
                    <a:p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Corte di Cassazione</a:t>
                      </a:r>
                    </a:p>
                    <a:p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  <a:p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  <a:p>
                      <a:pPr algn="just"/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Alle impugnazioni proposte dal 1° marzo 2023 con effetto a decorrere dal 30 giugno 2023 (art. 35 </a:t>
                      </a:r>
                      <a:r>
                        <a:rPr lang="it-IT" sz="1000" u="sng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cit</a:t>
                      </a:r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., commi 4 e 9)</a:t>
                      </a:r>
                    </a:p>
                    <a:p>
                      <a:pPr algn="just"/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  <a:p>
                      <a:pPr algn="just"/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  <a:p>
                      <a:pPr algn="just"/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Dal 1° gennaio 2023 in Cassazione si tengono: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adunanze camerali non partecipate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udienze pubbliche in presenza («</a:t>
                      </a:r>
                      <a:r>
                        <a:rPr lang="it-IT" sz="1000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cameralizzate</a:t>
                      </a:r>
                      <a:r>
                        <a:rPr lang="it-IT" sz="100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», tuttavia, dal 31 gennaio sino al 30 giugno 2023)</a:t>
                      </a:r>
                    </a:p>
                    <a:p>
                      <a:pPr marL="171450" indent="-171450">
                        <a:buFontTx/>
                        <a:buChar char="-"/>
                      </a:pPr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it-IT" sz="10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Anche durante la pandemia lo svolgimento delle udienze da remoto è stato riservato alle camere di consiglio (dove ad alcuni componenti il Collegio giudicante era consentito il collegamento esterno, </a:t>
                      </a:r>
                      <a:r>
                        <a:rPr lang="it-IT" sz="1000" b="1" u="sng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non</a:t>
                      </a:r>
                      <a:r>
                        <a:rPr lang="it-IT" sz="10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 al Presidente: cfr. </a:t>
                      </a:r>
                      <a:r>
                        <a:rPr lang="it-IT" sz="1000" b="1" dirty="0" err="1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Rel</a:t>
                      </a:r>
                      <a:r>
                        <a:rPr lang="it-IT" sz="1000" b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. Ufficio Massimario n. 20/2021) </a:t>
                      </a:r>
                      <a:r>
                        <a:rPr lang="it-IT" sz="1000" b="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art. 140 </a:t>
                      </a:r>
                      <a:r>
                        <a:rPr lang="it-IT" sz="1000" b="0" i="1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bis</a:t>
                      </a:r>
                      <a:r>
                        <a:rPr lang="it-IT" sz="1000" b="0" dirty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Calibri" panose="020F0502020204030204" pitchFamily="34" charset="0"/>
                          <a:cs typeface="Verdana" panose="020B0604030504040204" pitchFamily="34" charset="0"/>
                        </a:rPr>
                        <a:t> D.A. c.p.c.</a:t>
                      </a:r>
                    </a:p>
                    <a:p>
                      <a:pPr marL="0" indent="0" algn="ctr">
                        <a:buFontTx/>
                        <a:buNone/>
                      </a:pPr>
                      <a:endParaRPr lang="it-IT" sz="1000" b="1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extLst>
                  <a:ext uri="{0D108BD9-81ED-4DB2-BD59-A6C34878D82A}">
                    <a16:rowId xmlns:a16="http://schemas.microsoft.com/office/drawing/2014/main" val="3938532820"/>
                  </a:ext>
                </a:extLst>
              </a:tr>
              <a:tr h="545641">
                <a:tc>
                  <a:txBody>
                    <a:bodyPr/>
                    <a:lstStyle/>
                    <a:p>
                      <a:r>
                        <a:rPr lang="it-IT" sz="1000" dirty="0">
                          <a:effectLst/>
                        </a:rPr>
                        <a:t>Modifiche alla disciplina del ricorso per cassazione </a:t>
                      </a:r>
                    </a:p>
                    <a:p>
                      <a:pPr algn="just"/>
                      <a:r>
                        <a:rPr lang="it-IT" sz="900" dirty="0">
                          <a:effectLst/>
                        </a:rPr>
                        <a:t>(artt. </a:t>
                      </a:r>
                      <a:r>
                        <a:rPr lang="en-US" sz="900" dirty="0">
                          <a:effectLst/>
                        </a:rPr>
                        <a:t>372, 375, 376, 377, 378, 379, 380, 380</a:t>
                      </a:r>
                      <a:r>
                        <a:rPr lang="en-US" sz="900" i="1" dirty="0">
                          <a:effectLst/>
                        </a:rPr>
                        <a:t>bis</a:t>
                      </a:r>
                      <a:r>
                        <a:rPr lang="en-US" sz="900" dirty="0">
                          <a:effectLst/>
                        </a:rPr>
                        <a:t>, 380</a:t>
                      </a:r>
                      <a:r>
                        <a:rPr lang="en-US" sz="900" i="1" dirty="0">
                          <a:effectLst/>
                        </a:rPr>
                        <a:t>bis</a:t>
                      </a:r>
                      <a:r>
                        <a:rPr lang="en-US" sz="900" dirty="0">
                          <a:effectLst/>
                        </a:rPr>
                        <a:t>.1, 380</a:t>
                      </a:r>
                      <a:r>
                        <a:rPr lang="en-US" sz="900" i="1" dirty="0">
                          <a:effectLst/>
                        </a:rPr>
                        <a:t>ter</a:t>
                      </a:r>
                      <a:r>
                        <a:rPr lang="en-US" sz="900" dirty="0">
                          <a:effectLst/>
                        </a:rPr>
                        <a:t>, 383, 390, 391</a:t>
                      </a:r>
                      <a:r>
                        <a:rPr lang="en-US" sz="900" i="1" dirty="0">
                          <a:effectLst/>
                        </a:rPr>
                        <a:t>bis</a:t>
                      </a:r>
                      <a:r>
                        <a:rPr lang="en-US" sz="900" dirty="0">
                          <a:effectLst/>
                        </a:rPr>
                        <a:t> </a:t>
                      </a:r>
                      <a:r>
                        <a:rPr lang="en-US" sz="900" dirty="0" err="1">
                          <a:effectLst/>
                        </a:rPr>
                        <a:t>c.p.c.</a:t>
                      </a:r>
                      <a:r>
                        <a:rPr lang="en-US" sz="900" dirty="0">
                          <a:effectLst/>
                        </a:rPr>
                        <a:t>)</a:t>
                      </a:r>
                      <a:endParaRPr lang="it-IT" sz="900" dirty="0">
                        <a:effectLst/>
                      </a:endParaRPr>
                    </a:p>
                  </a:txBody>
                  <a:tcPr marL="57903" marR="57903" marT="0" marB="0"/>
                </a:tc>
                <a:tc>
                  <a:txBody>
                    <a:bodyPr/>
                    <a:lstStyle/>
                    <a:p>
                      <a:pPr algn="just"/>
                      <a:r>
                        <a:rPr lang="it-IT" sz="1000" dirty="0">
                          <a:effectLst/>
                        </a:rPr>
                        <a:t>Ai giudizi per i quali il ricorso risulta </a:t>
                      </a:r>
                      <a:r>
                        <a:rPr lang="it-IT" sz="1000" u="sng" dirty="0">
                          <a:effectLst/>
                        </a:rPr>
                        <a:t>già</a:t>
                      </a:r>
                      <a:r>
                        <a:rPr lang="it-IT" sz="1000" dirty="0">
                          <a:effectLst/>
                        </a:rPr>
                        <a:t> notificato alla data del 1° gennaio 2023, ma </a:t>
                      </a:r>
                      <a:r>
                        <a:rPr lang="it-IT" sz="1000" u="sng" dirty="0">
                          <a:effectLst/>
                        </a:rPr>
                        <a:t>non</a:t>
                      </a:r>
                      <a:r>
                        <a:rPr lang="it-IT" sz="1000" dirty="0">
                          <a:effectLst/>
                        </a:rPr>
                        <a:t> è ancora stata fissata udienza (o adunanza in camera di consiglio)</a:t>
                      </a:r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extLst>
                  <a:ext uri="{0D108BD9-81ED-4DB2-BD59-A6C34878D82A}">
                    <a16:rowId xmlns:a16="http://schemas.microsoft.com/office/drawing/2014/main" val="740470554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r>
                        <a:rPr lang="it-IT" sz="1000" dirty="0">
                          <a:effectLst/>
                        </a:rPr>
                        <a:t>Rinvio pregiudiziale alla Corte di cassazione </a:t>
                      </a:r>
                    </a:p>
                    <a:p>
                      <a:r>
                        <a:rPr lang="it-IT" sz="900" dirty="0">
                          <a:effectLst/>
                        </a:rPr>
                        <a:t>(art. 363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dirty="0">
                          <a:effectLst/>
                        </a:rPr>
                        <a:t> c.p.c.) </a:t>
                      </a:r>
                    </a:p>
                    <a:p>
                      <a:r>
                        <a:rPr lang="it-IT" sz="800" dirty="0">
                          <a:effectLst/>
                        </a:rPr>
                        <a:t> </a:t>
                      </a:r>
                      <a:endParaRPr lang="it-IT" sz="1000" dirty="0">
                        <a:effectLst/>
                      </a:endParaRPr>
                    </a:p>
                  </a:txBody>
                  <a:tcPr marL="57903" marR="57903" marT="0" marB="0"/>
                </a:tc>
                <a:tc>
                  <a:txBody>
                    <a:bodyPr/>
                    <a:lstStyle/>
                    <a:p>
                      <a:endParaRPr lang="it-IT" sz="800" dirty="0">
                        <a:effectLst/>
                      </a:endParaRPr>
                    </a:p>
                    <a:p>
                      <a:r>
                        <a:rPr lang="it-IT" sz="1000" dirty="0">
                          <a:effectLst/>
                        </a:rPr>
                        <a:t>Dal 1° gennaio 2023 anche ai procedimenti pendenti </a:t>
                      </a:r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extLst>
                  <a:ext uri="{0D108BD9-81ED-4DB2-BD59-A6C34878D82A}">
                    <a16:rowId xmlns:a16="http://schemas.microsoft.com/office/drawing/2014/main" val="3354773387"/>
                  </a:ext>
                </a:extLst>
              </a:tr>
              <a:tr h="470729">
                <a:tc>
                  <a:txBody>
                    <a:bodyPr/>
                    <a:lstStyle/>
                    <a:p>
                      <a:r>
                        <a:rPr lang="it-IT" sz="800" dirty="0">
                          <a:effectLst/>
                        </a:rPr>
                        <a:t> </a:t>
                      </a:r>
                      <a:r>
                        <a:rPr lang="it-IT" sz="1000" dirty="0">
                          <a:effectLst/>
                        </a:rPr>
                        <a:t>Tutte le altre disposizioni </a:t>
                      </a:r>
                    </a:p>
                    <a:p>
                      <a:pPr algn="just"/>
                      <a:r>
                        <a:rPr lang="it-IT" sz="900" dirty="0">
                          <a:effectLst/>
                        </a:rPr>
                        <a:t>(artt. 360, 362, 363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dirty="0">
                          <a:effectLst/>
                        </a:rPr>
                        <a:t>, 366, 369, 370, 371, 391</a:t>
                      </a:r>
                      <a:r>
                        <a:rPr lang="it-IT" sz="900" i="1" dirty="0">
                          <a:effectLst/>
                        </a:rPr>
                        <a:t>quater </a:t>
                      </a:r>
                      <a:r>
                        <a:rPr lang="it-IT" sz="900" i="0" dirty="0">
                          <a:effectLst/>
                        </a:rPr>
                        <a:t>c.p.c</a:t>
                      </a:r>
                      <a:r>
                        <a:rPr lang="it-IT" sz="900" i="1" dirty="0">
                          <a:effectLst/>
                        </a:rPr>
                        <a:t>.; </a:t>
                      </a:r>
                      <a:r>
                        <a:rPr lang="it-IT" sz="900" i="0" dirty="0">
                          <a:effectLst/>
                        </a:rPr>
                        <a:t>artt. 134, 134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i="0" dirty="0">
                          <a:effectLst/>
                        </a:rPr>
                        <a:t>, 135, 137, 137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i="0" dirty="0">
                          <a:effectLst/>
                        </a:rPr>
                        <a:t>, 137</a:t>
                      </a:r>
                      <a:r>
                        <a:rPr lang="it-IT" sz="900" i="1" dirty="0">
                          <a:effectLst/>
                        </a:rPr>
                        <a:t>ter</a:t>
                      </a:r>
                      <a:r>
                        <a:rPr lang="it-IT" sz="900" i="0" dirty="0">
                          <a:effectLst/>
                        </a:rPr>
                        <a:t>, 139, 140. 140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i="0" dirty="0">
                          <a:effectLst/>
                        </a:rPr>
                        <a:t>, 143, 144</a:t>
                      </a:r>
                      <a:r>
                        <a:rPr lang="it-IT" sz="900" i="1" dirty="0">
                          <a:effectLst/>
                        </a:rPr>
                        <a:t>bis</a:t>
                      </a:r>
                      <a:r>
                        <a:rPr lang="it-IT" sz="900" i="0" dirty="0">
                          <a:effectLst/>
                        </a:rPr>
                        <a:t>.1 D.A. c.p.c.</a:t>
                      </a:r>
                      <a:r>
                        <a:rPr lang="it-IT" sz="900" dirty="0">
                          <a:effectLst/>
                        </a:rPr>
                        <a:t>)</a:t>
                      </a:r>
                      <a:endParaRPr lang="it-IT" sz="9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tc>
                  <a:txBody>
                    <a:bodyPr/>
                    <a:lstStyle/>
                    <a:p>
                      <a:pPr algn="just"/>
                      <a:endParaRPr lang="it-IT" sz="1000" dirty="0">
                        <a:effectLst/>
                      </a:endParaRPr>
                    </a:p>
                    <a:p>
                      <a:pPr algn="just"/>
                      <a:r>
                        <a:rPr lang="it-IT" sz="1000" dirty="0">
                          <a:effectLst/>
                        </a:rPr>
                        <a:t>Ai procedimenti introdotti dal 1° gennaio 2023</a:t>
                      </a:r>
                      <a:endParaRPr lang="it-IT" sz="1000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7903" marR="57903" marT="0" marB="0"/>
                </a:tc>
                <a:extLst>
                  <a:ext uri="{0D108BD9-81ED-4DB2-BD59-A6C34878D82A}">
                    <a16:rowId xmlns:a16="http://schemas.microsoft.com/office/drawing/2014/main" val="1721039012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B53BB1D4-A41A-ED48-3BD5-A3AB93B23ACE}"/>
              </a:ext>
            </a:extLst>
          </p:cNvPr>
          <p:cNvSpPr txBox="1"/>
          <p:nvPr/>
        </p:nvSpPr>
        <p:spPr>
          <a:xfrm>
            <a:off x="11712624" y="6309900"/>
            <a:ext cx="3161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422349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9FF7F0-964B-444C-92E6-0F640E9EB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353" y="262766"/>
            <a:ext cx="11428584" cy="656752"/>
          </a:xfrm>
        </p:spPr>
        <p:txBody>
          <a:bodyPr/>
          <a:lstStyle/>
          <a:p>
            <a:r>
              <a:rPr lang="it-IT" dirty="0">
                <a:solidFill>
                  <a:srgbClr val="941100"/>
                </a:solidFill>
              </a:rPr>
              <a:t>Disciplina transitoria</a:t>
            </a:r>
          </a:p>
        </p:txBody>
      </p:sp>
      <p:sp>
        <p:nvSpPr>
          <p:cNvPr id="6" name="Segnaposto testo 5">
            <a:extLst>
              <a:ext uri="{FF2B5EF4-FFF2-40B4-BE49-F238E27FC236}">
                <a16:creationId xmlns:a16="http://schemas.microsoft.com/office/drawing/2014/main" id="{E2D88998-B877-244F-BB17-970C3DD2E6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5520" y="1036269"/>
            <a:ext cx="7056784" cy="656752"/>
          </a:xfrm>
        </p:spPr>
        <p:txBody>
          <a:bodyPr/>
          <a:lstStyle/>
          <a:p>
            <a:r>
              <a:rPr lang="it-IT" b="1" dirty="0">
                <a:solidFill>
                  <a:srgbClr val="941100"/>
                </a:solidFill>
              </a:rPr>
              <a:t>(ART. 35 </a:t>
            </a:r>
            <a:r>
              <a:rPr lang="it-IT" b="1" dirty="0" err="1">
                <a:solidFill>
                  <a:srgbClr val="941100"/>
                </a:solidFill>
              </a:rPr>
              <a:t>D.Lgs.</a:t>
            </a:r>
            <a:r>
              <a:rPr lang="it-IT" b="1" dirty="0">
                <a:solidFill>
                  <a:srgbClr val="941100"/>
                </a:solidFill>
              </a:rPr>
              <a:t> 149/2022 cd. «Riforma Cartabia»)</a:t>
            </a: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344682A5-DA10-444A-BD37-5A9956893E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064" y="836712"/>
            <a:ext cx="936104" cy="936104"/>
          </a:xfrm>
          <a:prstGeom prst="rect">
            <a:avLst/>
          </a:prstGeom>
        </p:spPr>
      </p:pic>
      <p:sp>
        <p:nvSpPr>
          <p:cNvPr id="11" name="Segnaposto testo 5">
            <a:extLst>
              <a:ext uri="{FF2B5EF4-FFF2-40B4-BE49-F238E27FC236}">
                <a16:creationId xmlns:a16="http://schemas.microsoft.com/office/drawing/2014/main" id="{C8BC5669-D0C4-564E-A386-B40BC3D5D988}"/>
              </a:ext>
            </a:extLst>
          </p:cNvPr>
          <p:cNvSpPr txBox="1">
            <a:spLocks/>
          </p:cNvSpPr>
          <p:nvPr/>
        </p:nvSpPr>
        <p:spPr>
          <a:xfrm>
            <a:off x="263352" y="1972373"/>
            <a:ext cx="11809312" cy="1456627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285750" indent="-28575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36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>
              <a:solidFill>
                <a:schemeClr val="accent4"/>
              </a:solidFill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16C20DA5-3AF0-4E47-AADE-45D1D2D57CF0}"/>
              </a:ext>
            </a:extLst>
          </p:cNvPr>
          <p:cNvSpPr/>
          <p:nvPr/>
        </p:nvSpPr>
        <p:spPr>
          <a:xfrm>
            <a:off x="500064" y="1828357"/>
            <a:ext cx="11191872" cy="1332000"/>
          </a:xfrm>
          <a:prstGeom prst="rect">
            <a:avLst/>
          </a:prstGeom>
          <a:solidFill>
            <a:srgbClr val="941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it-IT" b="1" dirty="0"/>
              <a:t>L. di Bilancio 2023 (L. 29 dicembre 2022, n. 197, art. 1 co. 380, lett. a)</a:t>
            </a:r>
          </a:p>
          <a:p>
            <a:pPr algn="just"/>
            <a:r>
              <a:rPr lang="it-IT" dirty="0"/>
              <a:t>Ha riscritto l’art. 35, modulando e anticipando l’efficacia dell’entrata in vigore di alcune parti della Riforma «Cartabia».</a:t>
            </a: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88FF5002-AA8A-244E-A0D2-90DBB39F7369}"/>
              </a:ext>
            </a:extLst>
          </p:cNvPr>
          <p:cNvSpPr/>
          <p:nvPr/>
        </p:nvSpPr>
        <p:spPr>
          <a:xfrm>
            <a:off x="500064" y="3212976"/>
            <a:ext cx="11177131" cy="3096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it-IT" b="1" dirty="0">
                <a:solidFill>
                  <a:srgbClr val="941100"/>
                </a:solidFill>
              </a:rPr>
              <a:t>D.L. «Milleproroghe» 2023 (D.L. 29 dicembre 2022, n. 198, art. 8, co. 8 )</a:t>
            </a:r>
          </a:p>
          <a:p>
            <a:pPr algn="just"/>
            <a:endParaRPr lang="it-IT" b="1" dirty="0">
              <a:solidFill>
                <a:srgbClr val="941100"/>
              </a:solidFill>
            </a:endParaRPr>
          </a:p>
          <a:p>
            <a:pPr algn="just"/>
            <a:r>
              <a:rPr lang="it-IT" dirty="0">
                <a:solidFill>
                  <a:srgbClr val="941100"/>
                </a:solidFill>
              </a:rPr>
              <a:t>Ha prorogato il termine di validità della modalità di svolgimento dell’udienza pubblica nella forma «</a:t>
            </a:r>
            <a:r>
              <a:rPr lang="it-IT" dirty="0" err="1">
                <a:solidFill>
                  <a:srgbClr val="941100"/>
                </a:solidFill>
              </a:rPr>
              <a:t>cameralizzata</a:t>
            </a:r>
            <a:r>
              <a:rPr lang="it-IT" dirty="0">
                <a:solidFill>
                  <a:srgbClr val="941100"/>
                </a:solidFill>
              </a:rPr>
              <a:t>» per altri 6 mesi, rispetto alla scadenza del 31 dicembre 2022, superando così la previsione della fase emergenziale (D.L. 28 ottobre 2020, n. 137, art. 23, co. 8 </a:t>
            </a:r>
            <a:r>
              <a:rPr lang="it-IT" i="1" dirty="0">
                <a:solidFill>
                  <a:srgbClr val="941100"/>
                </a:solidFill>
              </a:rPr>
              <a:t>bis</a:t>
            </a:r>
            <a:r>
              <a:rPr lang="it-IT" dirty="0">
                <a:solidFill>
                  <a:srgbClr val="941100"/>
                </a:solidFill>
              </a:rPr>
              <a:t> cd. «Decreto Ristori»), anche in deroga alle disposizioni della Riforma «Cartabia».</a:t>
            </a:r>
          </a:p>
          <a:p>
            <a:pPr algn="just"/>
            <a:endParaRPr lang="it-IT" dirty="0">
              <a:solidFill>
                <a:srgbClr val="941100"/>
              </a:solidFill>
            </a:endParaRPr>
          </a:p>
          <a:p>
            <a:pPr algn="just"/>
            <a:r>
              <a:rPr lang="it-IT" dirty="0">
                <a:solidFill>
                  <a:srgbClr val="941100"/>
                </a:solidFill>
              </a:rPr>
              <a:t>Il D.L. è stato convertito con la L. 24 febbraio 2023, n. 14, senza modificazioni </a:t>
            </a:r>
            <a:r>
              <a:rPr lang="it-IT">
                <a:solidFill>
                  <a:srgbClr val="941100"/>
                </a:solidFill>
              </a:rPr>
              <a:t>con riguardo al </a:t>
            </a:r>
            <a:r>
              <a:rPr lang="it-IT" dirty="0">
                <a:solidFill>
                  <a:srgbClr val="941100"/>
                </a:solidFill>
              </a:rPr>
              <a:t>citato comma 8 dell’art. 8.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99D05B94-234B-7834-4CFF-5A4724A55247}"/>
              </a:ext>
            </a:extLst>
          </p:cNvPr>
          <p:cNvSpPr txBox="1"/>
          <p:nvPr/>
        </p:nvSpPr>
        <p:spPr>
          <a:xfrm>
            <a:off x="11424592" y="6444044"/>
            <a:ext cx="38985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713757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0BC588-E3D3-EB46-97E8-7E845DBCAD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EC149C93-043E-1946-99C3-1562491FBCE9}" type="slidenum">
              <a:rPr lang="it-IT" smtClean="0"/>
              <a:pPr/>
              <a:t>14</a:t>
            </a:fld>
            <a:endParaRPr lang="it-IT" dirty="0"/>
          </a:p>
        </p:txBody>
      </p:sp>
      <p:graphicFrame>
        <p:nvGraphicFramePr>
          <p:cNvPr id="5" name="Diagramma 4">
            <a:extLst>
              <a:ext uri="{FF2B5EF4-FFF2-40B4-BE49-F238E27FC236}">
                <a16:creationId xmlns:a16="http://schemas.microsoft.com/office/drawing/2014/main" id="{D9B351CB-D343-F34A-BB26-8C6BD69C33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85968499"/>
              </p:ext>
            </p:extLst>
          </p:nvPr>
        </p:nvGraphicFramePr>
        <p:xfrm>
          <a:off x="234461" y="1700808"/>
          <a:ext cx="11723078" cy="432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olo 3">
            <a:extLst>
              <a:ext uri="{FF2B5EF4-FFF2-40B4-BE49-F238E27FC236}">
                <a16:creationId xmlns:a16="http://schemas.microsoft.com/office/drawing/2014/main" id="{697D8607-D2AB-124E-9D8D-04F18273C3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73239" y="385088"/>
            <a:ext cx="9539386" cy="1099696"/>
          </a:xfr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PROVVEDIMENTI DI INDIRIZZO E RELAZIONI DELLA S.C.</a:t>
            </a:r>
            <a:endParaRPr lang="it-IT" dirty="0">
              <a:solidFill>
                <a:srgbClr val="941100"/>
              </a:solidFill>
            </a:endParaRPr>
          </a:p>
        </p:txBody>
      </p:sp>
      <p:sp>
        <p:nvSpPr>
          <p:cNvPr id="11" name="Titel 1">
            <a:extLst>
              <a:ext uri="{FF2B5EF4-FFF2-40B4-BE49-F238E27FC236}">
                <a16:creationId xmlns:a16="http://schemas.microsoft.com/office/drawing/2014/main" id="{ADA890EC-583B-F746-B7AF-0A39E13BF28D}"/>
              </a:ext>
            </a:extLst>
          </p:cNvPr>
          <p:cNvSpPr txBox="1">
            <a:spLocks/>
          </p:cNvSpPr>
          <p:nvPr/>
        </p:nvSpPr>
        <p:spPr>
          <a:xfrm>
            <a:off x="320914" y="3821290"/>
            <a:ext cx="11550171" cy="97695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pPr algn="just"/>
            <a:endParaRPr lang="it-IT" sz="1400" b="0" cap="none" dirty="0">
              <a:latin typeface="+mn-lt"/>
            </a:endParaRPr>
          </a:p>
          <a:p>
            <a:pPr algn="just"/>
            <a:endParaRPr lang="it-IT" sz="1100" b="0" cap="none" dirty="0">
              <a:latin typeface="+mn-lt"/>
            </a:endParaRPr>
          </a:p>
          <a:p>
            <a:pPr algn="just"/>
            <a:endParaRPr lang="en-US" sz="1100" b="0" cap="none" dirty="0">
              <a:latin typeface="+mn-lt"/>
            </a:endParaRPr>
          </a:p>
        </p:txBody>
      </p:sp>
      <p:pic>
        <p:nvPicPr>
          <p:cNvPr id="8" name="Immagine 7">
            <a:extLst>
              <a:ext uri="{FF2B5EF4-FFF2-40B4-BE49-F238E27FC236}">
                <a16:creationId xmlns:a16="http://schemas.microsoft.com/office/drawing/2014/main" id="{D7C8C753-F292-694B-6EB7-1DA8B50B7A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5400" y="548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62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19FF7F0-964B-444C-92E6-0F640E9EB3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9245" y="548680"/>
            <a:ext cx="9727395" cy="656752"/>
          </a:xfrm>
        </p:spPr>
        <p:txBody>
          <a:bodyPr/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RECENTI CONTRIBUTI GIURISPRUDENZIALI</a:t>
            </a:r>
          </a:p>
        </p:txBody>
      </p:sp>
      <p:sp>
        <p:nvSpPr>
          <p:cNvPr id="9" name="Segnaposto testo 5">
            <a:extLst>
              <a:ext uri="{FF2B5EF4-FFF2-40B4-BE49-F238E27FC236}">
                <a16:creationId xmlns:a16="http://schemas.microsoft.com/office/drawing/2014/main" id="{81F81E90-70E9-7240-AC66-1EEB60284E26}"/>
              </a:ext>
            </a:extLst>
          </p:cNvPr>
          <p:cNvSpPr txBox="1">
            <a:spLocks/>
          </p:cNvSpPr>
          <p:nvPr/>
        </p:nvSpPr>
        <p:spPr>
          <a:xfrm>
            <a:off x="1775520" y="4869590"/>
            <a:ext cx="10297144" cy="952141"/>
          </a:xfrm>
          <a:prstGeom prst="rect">
            <a:avLst/>
          </a:prstGeom>
        </p:spPr>
        <p:txBody>
          <a:bodyPr/>
          <a:lstStyle>
            <a:lvl1pPr marL="0" indent="0" algn="just" defTabSz="914400" rtl="0" eaLnBrk="1" latinLnBrk="0" hangingPunct="1">
              <a:lnSpc>
                <a:spcPct val="150000"/>
              </a:lnSpc>
              <a:spcBef>
                <a:spcPts val="1000"/>
              </a:spcBef>
              <a:buClr>
                <a:schemeClr val="tx2"/>
              </a:buClr>
              <a:buFont typeface="Wingdings" pitchFamily="2" charset="2"/>
              <a:buNone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1pPr>
            <a:lvl2pPr marL="285750" indent="-28575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sz="1700" b="0" i="0" kern="120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2pPr>
            <a:lvl3pPr marL="36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3pPr>
            <a:lvl4pPr marL="540000" indent="-180000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Wingdings" pitchFamily="2" charset="2"/>
              <a:buChar char="§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4pPr>
            <a:lvl5pPr marL="365125" indent="-365125" algn="just" defTabSz="914400" rtl="0" eaLnBrk="1" latinLnBrk="0" hangingPunct="1">
              <a:lnSpc>
                <a:spcPct val="150000"/>
              </a:lnSpc>
              <a:spcBef>
                <a:spcPts val="500"/>
              </a:spcBef>
              <a:buClr>
                <a:schemeClr val="tx2"/>
              </a:buClr>
              <a:buFont typeface="+mj-lt"/>
              <a:buAutoNum type="arabicPeriod"/>
              <a:tabLst/>
              <a:defRPr lang="de-DE" sz="1700" b="0" i="0" kern="1200" dirty="0">
                <a:solidFill>
                  <a:schemeClr val="bg2"/>
                </a:solidFill>
                <a:latin typeface="Verdana" panose="020B060403050404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it-IT" dirty="0">
              <a:solidFill>
                <a:schemeClr val="accent4"/>
              </a:solidFill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24B3CE9C-6CF8-EB48-A84E-BBCC9BA0D21E}"/>
              </a:ext>
            </a:extLst>
          </p:cNvPr>
          <p:cNvSpPr/>
          <p:nvPr/>
        </p:nvSpPr>
        <p:spPr>
          <a:xfrm>
            <a:off x="911976" y="1463081"/>
            <a:ext cx="10728090" cy="4630216"/>
          </a:xfrm>
          <a:prstGeom prst="rect">
            <a:avLst/>
          </a:prstGeom>
          <a:solidFill>
            <a:srgbClr val="9411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50000"/>
              </a:lnSpc>
            </a:pPr>
            <a:endParaRPr lang="it-IT" b="1" dirty="0"/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ez. V, </a:t>
            </a:r>
            <a:r>
              <a:rPr lang="it-IT" b="1" dirty="0" err="1"/>
              <a:t>ord</a:t>
            </a:r>
            <a:r>
              <a:rPr lang="it-IT" b="1" dirty="0"/>
              <a:t>. 4312/2023 </a:t>
            </a:r>
            <a:r>
              <a:rPr lang="it-IT" dirty="0"/>
              <a:t>(sul principio di unicità del processo di cassazione)</a:t>
            </a:r>
            <a:endParaRPr lang="it-IT" b="1" dirty="0"/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S.UU., </a:t>
            </a:r>
            <a:r>
              <a:rPr lang="it-IT" b="1" dirty="0" err="1"/>
              <a:t>sent</a:t>
            </a:r>
            <a:r>
              <a:rPr lang="it-IT" b="1" dirty="0"/>
              <a:t>. 37434/2022; SS.UU., </a:t>
            </a:r>
            <a:r>
              <a:rPr lang="it-IT" b="1" dirty="0" err="1"/>
              <a:t>sent</a:t>
            </a:r>
            <a:r>
              <a:rPr lang="it-IT" b="1" dirty="0"/>
              <a:t>. 36057/2022 e Sez. I </a:t>
            </a:r>
            <a:r>
              <a:rPr lang="it-IT" b="1" dirty="0" err="1"/>
              <a:t>ord</a:t>
            </a:r>
            <a:r>
              <a:rPr lang="it-IT" b="1" dirty="0"/>
              <a:t>. 32151/2022 </a:t>
            </a:r>
            <a:r>
              <a:rPr lang="it-IT" dirty="0"/>
              <a:t>(su procura speciale e limiti alla sanabilità)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ez. V, </a:t>
            </a:r>
            <a:r>
              <a:rPr lang="it-IT" b="1" dirty="0" err="1"/>
              <a:t>ord</a:t>
            </a:r>
            <a:r>
              <a:rPr lang="it-IT" b="1" dirty="0"/>
              <a:t>. 2193/2023 </a:t>
            </a:r>
            <a:r>
              <a:rPr lang="it-IT" dirty="0"/>
              <a:t>(su casella </a:t>
            </a:r>
            <a:r>
              <a:rPr lang="it-IT" dirty="0" err="1"/>
              <a:t>pec</a:t>
            </a:r>
            <a:r>
              <a:rPr lang="it-IT" dirty="0"/>
              <a:t> piena)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</a:t>
            </a:r>
            <a:r>
              <a:rPr lang="it-IT" b="1" dirty="0" err="1"/>
              <a:t>Sez</a:t>
            </a:r>
            <a:r>
              <a:rPr lang="it-IT" b="1" dirty="0"/>
              <a:t>, Lav., </a:t>
            </a:r>
            <a:r>
              <a:rPr lang="it-IT" b="1" dirty="0" err="1"/>
              <a:t>sent</a:t>
            </a:r>
            <a:r>
              <a:rPr lang="it-IT" b="1" dirty="0"/>
              <a:t>. 12422/2021 </a:t>
            </a:r>
            <a:r>
              <a:rPr lang="it-IT" dirty="0"/>
              <a:t>(su perfezionamento deposito telematico: II </a:t>
            </a:r>
            <a:r>
              <a:rPr lang="it-IT" dirty="0" err="1"/>
              <a:t>pec</a:t>
            </a:r>
            <a:r>
              <a:rPr lang="it-IT" dirty="0"/>
              <a:t>)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ez. III, </a:t>
            </a:r>
            <a:r>
              <a:rPr lang="it-IT" b="1" dirty="0" err="1"/>
              <a:t>sent</a:t>
            </a:r>
            <a:r>
              <a:rPr lang="it-IT" b="1" dirty="0"/>
              <a:t>. 31346/2022 </a:t>
            </a:r>
            <a:r>
              <a:rPr lang="it-IT" dirty="0"/>
              <a:t>(su tempestività della ripresa </a:t>
            </a:r>
            <a:r>
              <a:rPr lang="it-IT" dirty="0" err="1"/>
              <a:t>notificatoria</a:t>
            </a:r>
            <a:r>
              <a:rPr lang="it-IT" dirty="0"/>
              <a:t>)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ez. III, </a:t>
            </a:r>
            <a:r>
              <a:rPr lang="it-IT" b="1" dirty="0" err="1"/>
              <a:t>sent</a:t>
            </a:r>
            <a:r>
              <a:rPr lang="it-IT" b="1" dirty="0"/>
              <a:t>. 33443/2022 e Sez. II, </a:t>
            </a:r>
            <a:r>
              <a:rPr lang="it-IT" b="1" dirty="0" err="1"/>
              <a:t>ord</a:t>
            </a:r>
            <a:r>
              <a:rPr lang="it-IT" b="1" dirty="0"/>
              <a:t>. 9262/2022 </a:t>
            </a:r>
            <a:r>
              <a:rPr lang="it-IT" dirty="0"/>
              <a:t>(su volontà asseverativa composita)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. SS.UU., </a:t>
            </a:r>
            <a:r>
              <a:rPr lang="it-IT" b="1" dirty="0" err="1"/>
              <a:t>sent</a:t>
            </a:r>
            <a:r>
              <a:rPr lang="it-IT" b="1" dirty="0"/>
              <a:t>. 4835/2023 </a:t>
            </a:r>
            <a:r>
              <a:rPr lang="it-IT" dirty="0"/>
              <a:t>(sul principio di «non dispersione o di acquisizione della prova»)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it-IT" b="1" dirty="0"/>
              <a:t>Cass, Sez. I, </a:t>
            </a:r>
            <a:r>
              <a:rPr lang="it-IT" b="1" dirty="0" err="1"/>
              <a:t>ord</a:t>
            </a:r>
            <a:r>
              <a:rPr lang="it-IT" b="1" dirty="0"/>
              <a:t>. 10689/2023 </a:t>
            </a:r>
            <a:r>
              <a:rPr lang="it-IT" dirty="0"/>
              <a:t>(sull’obbligatorietà del telematico in Cassazione)</a:t>
            </a:r>
          </a:p>
          <a:p>
            <a:pPr algn="ctr"/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DA3EEC3-9701-3C6F-4BC6-FAA9B2725E0E}"/>
              </a:ext>
            </a:extLst>
          </p:cNvPr>
          <p:cNvSpPr txBox="1"/>
          <p:nvPr/>
        </p:nvSpPr>
        <p:spPr>
          <a:xfrm>
            <a:off x="11640065" y="6524368"/>
            <a:ext cx="316112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646363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lang="it-IT" dirty="0"/>
          </a:p>
        </p:txBody>
      </p:sp>
      <p:pic>
        <p:nvPicPr>
          <p:cNvPr id="7" name="Immagine 6">
            <a:extLst>
              <a:ext uri="{FF2B5EF4-FFF2-40B4-BE49-F238E27FC236}">
                <a16:creationId xmlns:a16="http://schemas.microsoft.com/office/drawing/2014/main" id="{0D17E867-AB79-32E2-04AC-D3D99EC34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548680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6410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7">
            <a:extLst>
              <a:ext uri="{FF2B5EF4-FFF2-40B4-BE49-F238E27FC236}">
                <a16:creationId xmlns:a16="http://schemas.microsoft.com/office/drawing/2014/main" id="{09252AF9-330A-0146-B7B8-44F4F3FA06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476672"/>
            <a:ext cx="10729192" cy="5832648"/>
          </a:xfrm>
        </p:spPr>
        <p:txBody>
          <a:bodyPr anchor="ctr"/>
          <a:lstStyle/>
          <a:p>
            <a:pPr algn="ctr"/>
            <a:r>
              <a:rPr lang="it-IT" dirty="0">
                <a:solidFill>
                  <a:srgbClr val="941100"/>
                </a:solidFill>
              </a:rPr>
              <a:t>GRAZIE PER L’ATTENZION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A14E461-17D8-EC33-8EB9-FB7383CC107D}"/>
              </a:ext>
            </a:extLst>
          </p:cNvPr>
          <p:cNvSpPr txBox="1"/>
          <p:nvPr/>
        </p:nvSpPr>
        <p:spPr>
          <a:xfrm>
            <a:off x="8112224" y="6309320"/>
            <a:ext cx="370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1600" dirty="0" err="1">
                <a:solidFill>
                  <a:schemeClr val="accent5"/>
                </a:solidFill>
              </a:rPr>
              <a:t>iolanda.boccia@advant-nctm.com</a:t>
            </a:r>
            <a:endParaRPr lang="it-IT" sz="1600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8904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118FD249-A535-624D-8280-CD75A2A3675E}"/>
              </a:ext>
            </a:extLst>
          </p:cNvPr>
          <p:cNvSpPr txBox="1"/>
          <p:nvPr/>
        </p:nvSpPr>
        <p:spPr>
          <a:xfrm>
            <a:off x="695400" y="404664"/>
            <a:ext cx="878497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400" b="1" dirty="0">
                <a:solidFill>
                  <a:srgbClr val="941100"/>
                </a:solidFill>
              </a:rPr>
              <a:t>’Riforma Cartabia’ del Processo Civile</a:t>
            </a:r>
          </a:p>
        </p:txBody>
      </p:sp>
      <p:sp>
        <p:nvSpPr>
          <p:cNvPr id="7" name="Ovale 6">
            <a:extLst>
              <a:ext uri="{FF2B5EF4-FFF2-40B4-BE49-F238E27FC236}">
                <a16:creationId xmlns:a16="http://schemas.microsoft.com/office/drawing/2014/main" id="{2B352E91-5E8E-274B-BA79-4576ED7ACC95}"/>
              </a:ext>
            </a:extLst>
          </p:cNvPr>
          <p:cNvSpPr/>
          <p:nvPr/>
        </p:nvSpPr>
        <p:spPr>
          <a:xfrm>
            <a:off x="1415480" y="1340768"/>
            <a:ext cx="5112568" cy="4945986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>
                <a:solidFill>
                  <a:srgbClr val="941100"/>
                </a:solidFill>
              </a:rPr>
              <a:t>Centrare gli obiettivi della semplificazione, speditezza e razionalizzazione del processo civile attraverso il riassetto sostanziale e formale.</a:t>
            </a:r>
          </a:p>
          <a:p>
            <a:pPr algn="ctr"/>
            <a:endParaRPr lang="it-IT" b="1" dirty="0">
              <a:solidFill>
                <a:srgbClr val="941100"/>
              </a:solidFill>
            </a:endParaRPr>
          </a:p>
          <a:p>
            <a:pPr algn="ctr"/>
            <a:r>
              <a:rPr lang="it-IT" b="1" dirty="0">
                <a:solidFill>
                  <a:srgbClr val="941100"/>
                </a:solidFill>
              </a:rPr>
              <a:t>UFFICIO PER IL PROCESSO (UPP)</a:t>
            </a:r>
          </a:p>
          <a:p>
            <a:pPr algn="ctr"/>
            <a:endParaRPr lang="it-IT" b="1" dirty="0">
              <a:solidFill>
                <a:srgbClr val="941100"/>
              </a:solidFill>
            </a:endParaRPr>
          </a:p>
          <a:p>
            <a:pPr algn="ctr"/>
            <a:r>
              <a:rPr lang="it-IT" dirty="0" err="1">
                <a:solidFill>
                  <a:srgbClr val="941100"/>
                </a:solidFill>
              </a:rPr>
              <a:t>Provv</a:t>
            </a:r>
            <a:r>
              <a:rPr lang="it-IT" dirty="0">
                <a:solidFill>
                  <a:srgbClr val="941100"/>
                </a:solidFill>
              </a:rPr>
              <a:t>. n. 141 del P.P. Cassazione</a:t>
            </a:r>
          </a:p>
          <a:p>
            <a:pPr algn="ctr"/>
            <a:r>
              <a:rPr lang="it-IT" dirty="0">
                <a:solidFill>
                  <a:srgbClr val="941100"/>
                </a:solidFill>
              </a:rPr>
              <a:t>del 7 dicembre 2022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B24AD023-50DA-6490-9E45-855B12212B43}"/>
              </a:ext>
            </a:extLst>
          </p:cNvPr>
          <p:cNvSpPr txBox="1"/>
          <p:nvPr/>
        </p:nvSpPr>
        <p:spPr>
          <a:xfrm>
            <a:off x="10836876" y="469556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sz="1800" b="1" dirty="0"/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5FC0EECF-455F-4104-9274-7D919647AEE8}"/>
              </a:ext>
            </a:extLst>
          </p:cNvPr>
          <p:cNvSpPr/>
          <p:nvPr/>
        </p:nvSpPr>
        <p:spPr>
          <a:xfrm>
            <a:off x="9027798" y="2708920"/>
            <a:ext cx="2828842" cy="20882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941100"/>
                </a:solidFill>
              </a:rPr>
              <a:t>PROVVEDIMENTI EMESSI DALLA CASSAZIONE (</a:t>
            </a:r>
            <a:r>
              <a:rPr lang="it-IT" sz="1600" b="1" dirty="0" err="1">
                <a:solidFill>
                  <a:srgbClr val="941100"/>
                </a:solidFill>
              </a:rPr>
              <a:t>Italgiure</a:t>
            </a:r>
            <a:r>
              <a:rPr lang="it-IT" sz="1600" b="1" dirty="0">
                <a:solidFill>
                  <a:srgbClr val="941100"/>
                </a:solidFill>
              </a:rPr>
              <a:t>):</a:t>
            </a:r>
          </a:p>
          <a:p>
            <a:pPr algn="ctr"/>
            <a:endParaRPr lang="it-IT" sz="1600" dirty="0">
              <a:solidFill>
                <a:srgbClr val="941100"/>
              </a:solidFill>
            </a:endParaRPr>
          </a:p>
          <a:p>
            <a:pPr marL="342900" indent="-342900" algn="ctr">
              <a:buAutoNum type="alphaLcParenR"/>
            </a:pPr>
            <a:r>
              <a:rPr lang="it-IT" sz="1600" dirty="0">
                <a:solidFill>
                  <a:srgbClr val="941100"/>
                </a:solidFill>
              </a:rPr>
              <a:t>anno 2022 = 42.145</a:t>
            </a:r>
          </a:p>
          <a:p>
            <a:pPr marL="342900" indent="-342900" algn="ctr">
              <a:buAutoNum type="alphaLcParenR"/>
            </a:pPr>
            <a:r>
              <a:rPr lang="it-IT" sz="1600" dirty="0">
                <a:solidFill>
                  <a:srgbClr val="941100"/>
                </a:solidFill>
              </a:rPr>
              <a:t>anno 2021= 38.183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C9964136-2AF2-20E3-C23E-20844DF94281}"/>
              </a:ext>
            </a:extLst>
          </p:cNvPr>
          <p:cNvSpPr txBox="1"/>
          <p:nvPr/>
        </p:nvSpPr>
        <p:spPr>
          <a:xfrm>
            <a:off x="11784632" y="6381328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14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170859"/>
            <a:ext cx="8807261" cy="521837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I DEPOSITI (1/2)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0512663"/>
              </p:ext>
            </p:extLst>
          </p:nvPr>
        </p:nvGraphicFramePr>
        <p:xfrm>
          <a:off x="5281317" y="997849"/>
          <a:ext cx="6910683" cy="56892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4A52E79C-4277-7940-B741-844C0046560D}"/>
              </a:ext>
            </a:extLst>
          </p:cNvPr>
          <p:cNvSpPr txBox="1"/>
          <p:nvPr/>
        </p:nvSpPr>
        <p:spPr>
          <a:xfrm>
            <a:off x="385082" y="692696"/>
            <a:ext cx="6935053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Gli atti e i documenti non sono più depositati «</a:t>
            </a:r>
            <a:r>
              <a:rPr lang="it-IT" i="1" dirty="0">
                <a:solidFill>
                  <a:srgbClr val="941100"/>
                </a:solidFill>
              </a:rPr>
              <a:t>in</a:t>
            </a:r>
            <a:r>
              <a:rPr lang="it-IT" dirty="0">
                <a:solidFill>
                  <a:srgbClr val="941100"/>
                </a:solidFill>
              </a:rPr>
              <a:t> </a:t>
            </a:r>
            <a:r>
              <a:rPr lang="it-IT" i="1" dirty="0">
                <a:solidFill>
                  <a:srgbClr val="941100"/>
                </a:solidFill>
              </a:rPr>
              <a:t>cancelleria</a:t>
            </a:r>
            <a:r>
              <a:rPr lang="it-IT" dirty="0">
                <a:solidFill>
                  <a:srgbClr val="941100"/>
                </a:solidFill>
              </a:rPr>
              <a:t>», ma inseriti in formato digitale (nativo o meno) nel fascicolo informatico; ne è conseguito l’adeguamento di tutte le disposizioni incompatibili con una disciplina che non richiede più la domiciliazione fisica e il formato analogico di atti e documenti (nuovo Titolo V </a:t>
            </a:r>
            <a:r>
              <a:rPr lang="it-IT" i="1" dirty="0">
                <a:solidFill>
                  <a:srgbClr val="941100"/>
                </a:solidFill>
              </a:rPr>
              <a:t>ter</a:t>
            </a:r>
            <a:r>
              <a:rPr lang="it-IT" dirty="0">
                <a:solidFill>
                  <a:srgbClr val="941100"/>
                </a:solidFill>
              </a:rPr>
              <a:t> Disp. Att. c.p.c.).</a:t>
            </a:r>
          </a:p>
          <a:p>
            <a:pPr algn="just"/>
            <a:r>
              <a:rPr lang="it-IT" sz="1600" b="1" dirty="0">
                <a:solidFill>
                  <a:srgbClr val="941100"/>
                </a:solidFill>
              </a:rPr>
              <a:t>Anche la Prima Presidenza della Cassazione, con comunicato del 7 febbraio 2023, ricorda l’obbligatorietà del PCT dal 1° gennaio 2023, con esclusione anche dei depositi a mezzo posta per i nuovi ricorsi </a:t>
            </a:r>
            <a:r>
              <a:rPr lang="it-IT" sz="1600" b="1" i="1" dirty="0">
                <a:solidFill>
                  <a:srgbClr val="941100"/>
                </a:solidFill>
              </a:rPr>
              <a:t>post</a:t>
            </a:r>
            <a:r>
              <a:rPr lang="it-IT" sz="1600" b="1" dirty="0">
                <a:solidFill>
                  <a:srgbClr val="941100"/>
                </a:solidFill>
              </a:rPr>
              <a:t> 1° gennaio.</a:t>
            </a:r>
            <a:endParaRPr lang="it-IT" sz="1600" b="1" dirty="0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8472264" y="1916832"/>
            <a:ext cx="10081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rt. 369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Deposito Ricorso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AF2D2AE-0051-5530-B303-9F2EB8E47E37}"/>
              </a:ext>
            </a:extLst>
          </p:cNvPr>
          <p:cNvSpPr txBox="1"/>
          <p:nvPr/>
        </p:nvSpPr>
        <p:spPr>
          <a:xfrm>
            <a:off x="911424" y="3856980"/>
            <a:ext cx="554461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sz="1600" dirty="0">
                <a:solidFill>
                  <a:srgbClr val="941100"/>
                </a:solidFill>
              </a:rPr>
              <a:t>Tutti gli atti di instaurazione del contraddittorio successivi (controricorso, ricorso incidentale, rinuncia) e i documenti «nuovi» esaminabili dalla Corte (</a:t>
            </a:r>
            <a:r>
              <a:rPr lang="it-IT" sz="1600" i="1" dirty="0">
                <a:solidFill>
                  <a:srgbClr val="941100"/>
                </a:solidFill>
              </a:rPr>
              <a:t>ex</a:t>
            </a:r>
            <a:r>
              <a:rPr lang="it-IT" sz="1600" dirty="0">
                <a:solidFill>
                  <a:srgbClr val="941100"/>
                </a:solidFill>
              </a:rPr>
              <a:t> art. 372 c.p.c.) </a:t>
            </a:r>
            <a:r>
              <a:rPr lang="it-IT" sz="1600" b="1" u="sng" dirty="0">
                <a:solidFill>
                  <a:srgbClr val="941100"/>
                </a:solidFill>
              </a:rPr>
              <a:t>non devono più essere notificati</a:t>
            </a:r>
            <a:r>
              <a:rPr lang="it-IT" sz="1600" u="sng" dirty="0">
                <a:solidFill>
                  <a:srgbClr val="941100"/>
                </a:solidFill>
              </a:rPr>
              <a:t>, ma solo depositati in telematico</a:t>
            </a:r>
            <a:r>
              <a:rPr lang="it-IT" sz="1600" dirty="0">
                <a:solidFill>
                  <a:srgbClr val="941100"/>
                </a:solidFill>
              </a:rPr>
              <a:t>. Gli atti che in precedenza dovevano essere depositati in cancelleria (memorie, istanze) </a:t>
            </a:r>
            <a:r>
              <a:rPr lang="it-IT" sz="1600" u="sng" dirty="0">
                <a:solidFill>
                  <a:srgbClr val="941100"/>
                </a:solidFill>
              </a:rPr>
              <a:t>sono da depositare in telematico</a:t>
            </a:r>
            <a:r>
              <a:rPr lang="it-IT" sz="1600" dirty="0">
                <a:solidFill>
                  <a:srgbClr val="941100"/>
                </a:solidFill>
              </a:rPr>
              <a:t> nei nuovi termini conseguenti alla razionalizzazione dei riti. </a:t>
            </a:r>
            <a:endParaRPr lang="it-IT" sz="1600" b="1" dirty="0"/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7536160" y="3235623"/>
            <a:ext cx="144015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rt. 370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Controricorso</a:t>
            </a:r>
          </a:p>
          <a:p>
            <a:endParaRPr lang="it-IT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DBB8D56C-1547-6D5B-4A93-4E790338ABA2}"/>
              </a:ext>
            </a:extLst>
          </p:cNvPr>
          <p:cNvSpPr txBox="1"/>
          <p:nvPr/>
        </p:nvSpPr>
        <p:spPr>
          <a:xfrm>
            <a:off x="6792886" y="4861609"/>
            <a:ext cx="117532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rt. 371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icorso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incidentale</a:t>
            </a:r>
          </a:p>
          <a:p>
            <a:endParaRPr lang="it-IT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01554A45-FF41-48F0-F21D-3051677CB0C1}"/>
              </a:ext>
            </a:extLst>
          </p:cNvPr>
          <p:cNvSpPr txBox="1"/>
          <p:nvPr/>
        </p:nvSpPr>
        <p:spPr>
          <a:xfrm>
            <a:off x="11784632" y="6381328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817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170859"/>
            <a:ext cx="8807261" cy="521837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I DEPOSITI (2/2)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59456891"/>
              </p:ext>
            </p:extLst>
          </p:nvPr>
        </p:nvGraphicFramePr>
        <p:xfrm>
          <a:off x="5281317" y="997850"/>
          <a:ext cx="6935054" cy="53114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8400256" y="1700808"/>
            <a:ext cx="115212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rt. 372</a:t>
            </a:r>
          </a:p>
          <a:p>
            <a:pPr algn="ctr"/>
            <a:r>
              <a:rPr lang="it-IT" sz="1200" dirty="0">
                <a:solidFill>
                  <a:schemeClr val="bg1"/>
                </a:solidFill>
              </a:rPr>
              <a:t>Produzione di altri documenti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7824192" y="3356992"/>
            <a:ext cx="1152128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Art. 390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inuncia</a:t>
            </a:r>
          </a:p>
          <a:p>
            <a:endParaRPr lang="it-IT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455BE16A-5579-57A7-9CE5-2EB8215893F8}"/>
              </a:ext>
            </a:extLst>
          </p:cNvPr>
          <p:cNvSpPr txBox="1"/>
          <p:nvPr/>
        </p:nvSpPr>
        <p:spPr>
          <a:xfrm>
            <a:off x="6888087" y="4851157"/>
            <a:ext cx="115212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Memorie (</a:t>
            </a:r>
            <a:r>
              <a:rPr lang="it-IT" sz="1400" b="1" dirty="0">
                <a:solidFill>
                  <a:schemeClr val="bg1"/>
                </a:solidFill>
              </a:rPr>
              <a:t>Art. 378 </a:t>
            </a:r>
            <a:r>
              <a:rPr lang="it-IT" sz="1400" dirty="0">
                <a:solidFill>
                  <a:schemeClr val="bg1"/>
                </a:solidFill>
              </a:rPr>
              <a:t>e </a:t>
            </a:r>
            <a:r>
              <a:rPr lang="it-IT" sz="1400" b="1" dirty="0">
                <a:solidFill>
                  <a:schemeClr val="bg1"/>
                </a:solidFill>
              </a:rPr>
              <a:t>380 </a:t>
            </a:r>
            <a:r>
              <a:rPr lang="it-IT" sz="1400" b="1" i="1" dirty="0">
                <a:solidFill>
                  <a:schemeClr val="bg1"/>
                </a:solidFill>
              </a:rPr>
              <a:t>bis</a:t>
            </a:r>
            <a:r>
              <a:rPr lang="it-IT" sz="1400" b="1" dirty="0">
                <a:solidFill>
                  <a:schemeClr val="bg1"/>
                </a:solidFill>
              </a:rPr>
              <a:t>.1</a:t>
            </a:r>
            <a:r>
              <a:rPr lang="it-IT" sz="1400" dirty="0">
                <a:solidFill>
                  <a:schemeClr val="bg1"/>
                </a:solidFill>
              </a:rPr>
              <a:t>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263352" y="1196752"/>
            <a:ext cx="640871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A parte il PCT (in vigore dal 1° gennaio 2023), è previsto che:</a:t>
            </a:r>
          </a:p>
          <a:p>
            <a:pPr marL="285750" indent="-285750" algn="just">
              <a:buFontTx/>
              <a:buChar char="-"/>
            </a:pPr>
            <a:r>
              <a:rPr lang="it-IT" dirty="0">
                <a:solidFill>
                  <a:srgbClr val="941100"/>
                </a:solidFill>
              </a:rPr>
              <a:t>le disposizioni degli artt. 369, 370 e 371 si applichino ai procedimenti instaurati dopo il </a:t>
            </a:r>
            <a:r>
              <a:rPr lang="it-IT" b="1" dirty="0">
                <a:solidFill>
                  <a:srgbClr val="941100"/>
                </a:solidFill>
              </a:rPr>
              <a:t>1° gennaio 2023</a:t>
            </a:r>
          </a:p>
          <a:p>
            <a:pPr marL="285750" indent="-285750" algn="just">
              <a:buFontTx/>
              <a:buChar char="-"/>
            </a:pPr>
            <a:r>
              <a:rPr lang="it-IT" dirty="0">
                <a:solidFill>
                  <a:srgbClr val="941100"/>
                </a:solidFill>
              </a:rPr>
              <a:t>i depositi contemplati agli artt. 372, 390, 378 e 380 </a:t>
            </a:r>
            <a:r>
              <a:rPr lang="it-IT" i="1" dirty="0">
                <a:solidFill>
                  <a:srgbClr val="941100"/>
                </a:solidFill>
              </a:rPr>
              <a:t>bis</a:t>
            </a:r>
            <a:r>
              <a:rPr lang="it-IT" dirty="0">
                <a:solidFill>
                  <a:srgbClr val="941100"/>
                </a:solidFill>
              </a:rPr>
              <a:t>.1 saranno invece regolati dalla normativa riformata se relativi a ricorsi </a:t>
            </a:r>
            <a:r>
              <a:rPr lang="it-IT" b="1" dirty="0">
                <a:solidFill>
                  <a:srgbClr val="941100"/>
                </a:solidFill>
              </a:rPr>
              <a:t>già</a:t>
            </a:r>
            <a:r>
              <a:rPr lang="it-IT" dirty="0">
                <a:solidFill>
                  <a:srgbClr val="941100"/>
                </a:solidFill>
              </a:rPr>
              <a:t> pendenti a tale data, purché </a:t>
            </a:r>
            <a:r>
              <a:rPr lang="it-IT" b="1" dirty="0">
                <a:solidFill>
                  <a:srgbClr val="941100"/>
                </a:solidFill>
              </a:rPr>
              <a:t>senza</a:t>
            </a:r>
            <a:r>
              <a:rPr lang="it-IT" dirty="0">
                <a:solidFill>
                  <a:srgbClr val="941100"/>
                </a:solidFill>
              </a:rPr>
              <a:t> fissazione di udienza o adunanza camerale e</a:t>
            </a:r>
          </a:p>
          <a:p>
            <a:pPr marL="285750" indent="-285750" algn="just">
              <a:buFontTx/>
              <a:buChar char="-"/>
            </a:pPr>
            <a:r>
              <a:rPr lang="it-IT" dirty="0">
                <a:solidFill>
                  <a:srgbClr val="941100"/>
                </a:solidFill>
              </a:rPr>
              <a:t> gli stessi depositi saranno invece regolati dalla normativa anteriore se relativi a ricorsi </a:t>
            </a:r>
            <a:r>
              <a:rPr lang="it-IT" b="1" dirty="0">
                <a:solidFill>
                  <a:srgbClr val="941100"/>
                </a:solidFill>
              </a:rPr>
              <a:t>già</a:t>
            </a:r>
            <a:r>
              <a:rPr lang="it-IT" dirty="0">
                <a:solidFill>
                  <a:srgbClr val="941100"/>
                </a:solidFill>
              </a:rPr>
              <a:t> pendenti a tale data, </a:t>
            </a:r>
            <a:r>
              <a:rPr lang="it-IT" b="1" dirty="0">
                <a:solidFill>
                  <a:srgbClr val="941100"/>
                </a:solidFill>
              </a:rPr>
              <a:t>con</a:t>
            </a:r>
            <a:r>
              <a:rPr lang="it-IT" dirty="0">
                <a:solidFill>
                  <a:srgbClr val="941100"/>
                </a:solidFill>
              </a:rPr>
              <a:t> fissazione di udienza o adunanza camerale</a:t>
            </a:r>
          </a:p>
          <a:p>
            <a:pPr algn="just"/>
            <a:r>
              <a:rPr lang="it-IT" dirty="0">
                <a:solidFill>
                  <a:srgbClr val="941100"/>
                </a:solidFill>
              </a:rPr>
              <a:t>(art. 35 co. 6 </a:t>
            </a:r>
            <a:r>
              <a:rPr lang="it-IT" dirty="0" err="1">
                <a:solidFill>
                  <a:srgbClr val="941100"/>
                </a:solidFill>
              </a:rPr>
              <a:t>D.Lgs.</a:t>
            </a:r>
            <a:r>
              <a:rPr lang="it-IT" dirty="0">
                <a:solidFill>
                  <a:srgbClr val="941100"/>
                </a:solidFill>
              </a:rPr>
              <a:t> 149/2022, cd. «Riforma Cartabia»).</a:t>
            </a:r>
            <a:endParaRPr lang="it-IT" sz="1600" b="1" dirty="0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3A0CB912-B25D-98F1-3836-21DADBB36DE0}"/>
              </a:ext>
            </a:extLst>
          </p:cNvPr>
          <p:cNvSpPr txBox="1"/>
          <p:nvPr/>
        </p:nvSpPr>
        <p:spPr>
          <a:xfrm>
            <a:off x="11784632" y="6381328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7713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170859"/>
            <a:ext cx="8807261" cy="521837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DIFFERENZE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0671934"/>
              </p:ext>
            </p:extLst>
          </p:nvPr>
        </p:nvGraphicFramePr>
        <p:xfrm>
          <a:off x="5281317" y="997850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608168" y="1970837"/>
            <a:ext cx="11521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Udienza pubblica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5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7104112" y="3710062"/>
            <a:ext cx="115212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dunanza camerale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5)</a:t>
            </a:r>
          </a:p>
          <a:p>
            <a:endParaRPr lang="it-IT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551384" y="2008094"/>
            <a:ext cx="640871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La «Riforma» istituzionalizza l’adunanza camerale come «regola» (sia per le SS.UU. che per la S. Semplice) rispetto all’udienza pubblica, che diviene l’eccezione; contemporaneamente </a:t>
            </a:r>
            <a:r>
              <a:rPr lang="it-IT" b="1" dirty="0">
                <a:solidFill>
                  <a:srgbClr val="941100"/>
                </a:solidFill>
              </a:rPr>
              <a:t>l’eliminazione della Sezione «filtro»</a:t>
            </a:r>
            <a:r>
              <a:rPr lang="it-IT" dirty="0">
                <a:solidFill>
                  <a:srgbClr val="941100"/>
                </a:solidFill>
              </a:rPr>
              <a:t> (la VI civile, introdotta con L. 18 giugno 2009, n. 69) comporta che presso tutte le Sezioni potrà essere adottato un rito cd. «accelerato» per la trattazione dei ricorsi inammissibili, improcedibili o manifestamente infondati.</a:t>
            </a:r>
            <a:endParaRPr lang="it-IT" sz="1600" b="1" dirty="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9BE8D42-6D2B-65CF-04B8-3574D0D3C993}"/>
              </a:ext>
            </a:extLst>
          </p:cNvPr>
          <p:cNvSpPr txBox="1"/>
          <p:nvPr/>
        </p:nvSpPr>
        <p:spPr>
          <a:xfrm>
            <a:off x="11784632" y="6381328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1983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42569"/>
            <a:ext cx="8856983" cy="66615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ASSEGNAZIONE E FISSAZIONE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1950677"/>
              </p:ext>
            </p:extLst>
          </p:nvPr>
        </p:nvGraphicFramePr>
        <p:xfrm>
          <a:off x="5256946" y="974062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464152" y="1772816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ssegnazione 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6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7104112" y="3710062"/>
            <a:ext cx="115212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Fissazione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7)</a:t>
            </a:r>
          </a:p>
          <a:p>
            <a:endParaRPr lang="it-IT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2721694"/>
            <a:ext cx="58326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Anche il procedimento di assegnazione alle Sezioni e di fissazione delle udienze/adunanze viene uniformato e reso compatibile con il PCT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D462508-957C-874E-6CC7-96CA9FFF7195}"/>
              </a:ext>
            </a:extLst>
          </p:cNvPr>
          <p:cNvSpPr txBox="1"/>
          <p:nvPr/>
        </p:nvSpPr>
        <p:spPr>
          <a:xfrm>
            <a:off x="11851341" y="6544235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4746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42569"/>
            <a:ext cx="8856983" cy="66615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COMUNICAZIONI DI CANCELLERIA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83831997"/>
              </p:ext>
            </p:extLst>
          </p:nvPr>
        </p:nvGraphicFramePr>
        <p:xfrm>
          <a:off x="5281317" y="981336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464152" y="2330296"/>
            <a:ext cx="144016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Udienza Pubblica 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7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7032104" y="3998094"/>
            <a:ext cx="1152128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Adunanza 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camerale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80 </a:t>
            </a:r>
            <a:r>
              <a:rPr lang="it-IT" sz="1400" b="1" i="1" dirty="0">
                <a:solidFill>
                  <a:schemeClr val="bg1"/>
                </a:solidFill>
              </a:rPr>
              <a:t>bis</a:t>
            </a:r>
            <a:r>
              <a:rPr lang="it-IT" sz="1400" b="1" dirty="0">
                <a:solidFill>
                  <a:schemeClr val="bg1"/>
                </a:solidFill>
              </a:rPr>
              <a:t>.1)</a:t>
            </a:r>
          </a:p>
          <a:p>
            <a:endParaRPr lang="it-IT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2721694"/>
            <a:ext cx="583264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Inoltre i termini per le comunicazioni dell’avviso di fissazione sono stati unificati e le comunicazioni estese al P.M..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5D462508-957C-874E-6CC7-96CA9FFF7195}"/>
              </a:ext>
            </a:extLst>
          </p:cNvPr>
          <p:cNvSpPr txBox="1"/>
          <p:nvPr/>
        </p:nvSpPr>
        <p:spPr>
          <a:xfrm>
            <a:off x="11851341" y="6544235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332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75507"/>
            <a:ext cx="8807261" cy="90522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la discussione e L’UDIENZA PUBBLICA CAMERALIZZATA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78017749"/>
              </p:ext>
            </p:extLst>
          </p:nvPr>
        </p:nvGraphicFramePr>
        <p:xfrm>
          <a:off x="5281317" y="997850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536160" y="2329716"/>
            <a:ext cx="12961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iscussione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79)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AEAB00DB-8301-C872-C5D7-9EAD47871DDB}"/>
              </a:ext>
            </a:extLst>
          </p:cNvPr>
          <p:cNvSpPr txBox="1"/>
          <p:nvPr/>
        </p:nvSpPr>
        <p:spPr>
          <a:xfrm>
            <a:off x="6960096" y="3998094"/>
            <a:ext cx="1440160" cy="12311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Deliberazione della sentenza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80)</a:t>
            </a:r>
          </a:p>
          <a:p>
            <a:endParaRPr lang="it-IT" dirty="0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1124744"/>
            <a:ext cx="640871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Nonostante la «Riforma» stigmatizzi la necessità  che l’udienza pubblica si svolga </a:t>
            </a:r>
            <a:r>
              <a:rPr lang="it-IT" b="1" dirty="0">
                <a:solidFill>
                  <a:srgbClr val="941100"/>
                </a:solidFill>
              </a:rPr>
              <a:t>sempre</a:t>
            </a:r>
            <a:r>
              <a:rPr lang="it-IT" dirty="0">
                <a:solidFill>
                  <a:srgbClr val="941100"/>
                </a:solidFill>
              </a:rPr>
              <a:t> in presenza, con il D.L. 29 dicembre 2022 n. 198 (cd. «Milleproroghe»: art. 8, co. 8) sono state prorogate, sino al 30 giugno 2023, le disposizioni relative all’udienza pubblica «</a:t>
            </a:r>
            <a:r>
              <a:rPr lang="it-IT" dirty="0" err="1">
                <a:solidFill>
                  <a:srgbClr val="941100"/>
                </a:solidFill>
              </a:rPr>
              <a:t>cameralizzata</a:t>
            </a:r>
            <a:r>
              <a:rPr lang="it-IT" dirty="0">
                <a:solidFill>
                  <a:srgbClr val="941100"/>
                </a:solidFill>
              </a:rPr>
              <a:t>» istituite in periodo emergenziale.</a:t>
            </a:r>
            <a:endParaRPr lang="it-IT" sz="1600" b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69904F7E-B757-53B0-A4EA-3FDBBEEB5511}"/>
              </a:ext>
            </a:extLst>
          </p:cNvPr>
          <p:cNvSpPr txBox="1"/>
          <p:nvPr/>
        </p:nvSpPr>
        <p:spPr>
          <a:xfrm>
            <a:off x="3370729" y="53071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86776CF-CF45-307B-382E-05BDD56FF830}"/>
              </a:ext>
            </a:extLst>
          </p:cNvPr>
          <p:cNvSpPr txBox="1"/>
          <p:nvPr/>
        </p:nvSpPr>
        <p:spPr>
          <a:xfrm>
            <a:off x="3944471" y="433891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it-IT" dirty="0"/>
          </a:p>
        </p:txBody>
      </p:sp>
      <p:sp>
        <p:nvSpPr>
          <p:cNvPr id="15" name="CasellaDiTesto 14">
            <a:extLst>
              <a:ext uri="{FF2B5EF4-FFF2-40B4-BE49-F238E27FC236}">
                <a16:creationId xmlns:a16="http://schemas.microsoft.com/office/drawing/2014/main" id="{DAE8A4B1-4AB2-B989-BD4D-9B3061AC828D}"/>
              </a:ext>
            </a:extLst>
          </p:cNvPr>
          <p:cNvSpPr txBox="1"/>
          <p:nvPr/>
        </p:nvSpPr>
        <p:spPr>
          <a:xfrm>
            <a:off x="983741" y="3212976"/>
            <a:ext cx="5760640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L’art. 23, co. 8 </a:t>
            </a:r>
            <a:r>
              <a:rPr lang="it-IT" i="1" dirty="0">
                <a:solidFill>
                  <a:srgbClr val="941100"/>
                </a:solidFill>
              </a:rPr>
              <a:t>bis</a:t>
            </a:r>
            <a:r>
              <a:rPr lang="it-IT" dirty="0">
                <a:solidFill>
                  <a:srgbClr val="941100"/>
                </a:solidFill>
              </a:rPr>
              <a:t> del D.L. cd. «Ristori» (n. 137/2020) ha previsto che si proceda in camera di consiglio, </a:t>
            </a:r>
            <a:r>
              <a:rPr lang="it-IT" u="sng" dirty="0">
                <a:solidFill>
                  <a:srgbClr val="941100"/>
                </a:solidFill>
              </a:rPr>
              <a:t>salvo che </a:t>
            </a:r>
            <a:r>
              <a:rPr lang="it-IT" b="1" u="sng" dirty="0">
                <a:solidFill>
                  <a:srgbClr val="941100"/>
                </a:solidFill>
              </a:rPr>
              <a:t>una delle parti </a:t>
            </a:r>
            <a:r>
              <a:rPr lang="it-IT" u="sng" dirty="0">
                <a:solidFill>
                  <a:srgbClr val="941100"/>
                </a:solidFill>
              </a:rPr>
              <a:t>o il </a:t>
            </a:r>
            <a:r>
              <a:rPr lang="it-IT" b="1" u="sng" dirty="0">
                <a:solidFill>
                  <a:srgbClr val="941100"/>
                </a:solidFill>
              </a:rPr>
              <a:t>procuratore generale </a:t>
            </a:r>
            <a:r>
              <a:rPr lang="it-IT" u="sng" dirty="0">
                <a:solidFill>
                  <a:srgbClr val="941100"/>
                </a:solidFill>
              </a:rPr>
              <a:t>facciano richiesta di discussione orale</a:t>
            </a:r>
            <a:r>
              <a:rPr lang="it-IT" dirty="0">
                <a:solidFill>
                  <a:srgbClr val="941100"/>
                </a:solidFill>
              </a:rPr>
              <a:t> con atto depositato (ora: in PCT) venticinque giorni </a:t>
            </a:r>
            <a:r>
              <a:rPr lang="it-IT" b="1" dirty="0">
                <a:solidFill>
                  <a:srgbClr val="941100"/>
                </a:solidFill>
              </a:rPr>
              <a:t>liberi</a:t>
            </a:r>
            <a:r>
              <a:rPr lang="it-IT" dirty="0">
                <a:solidFill>
                  <a:srgbClr val="941100"/>
                </a:solidFill>
              </a:rPr>
              <a:t> prima dell'udienza. </a:t>
            </a:r>
          </a:p>
          <a:p>
            <a:pPr algn="just"/>
            <a:endParaRPr lang="it-IT" dirty="0">
              <a:solidFill>
                <a:srgbClr val="941100"/>
              </a:solidFill>
            </a:endParaRPr>
          </a:p>
          <a:p>
            <a:pPr algn="just"/>
            <a:r>
              <a:rPr lang="it-IT" b="1" u="sng" dirty="0">
                <a:solidFill>
                  <a:srgbClr val="941100"/>
                </a:solidFill>
              </a:rPr>
              <a:t>In mancanza di istanza per la discussione</a:t>
            </a:r>
            <a:r>
              <a:rPr lang="it-IT" dirty="0">
                <a:solidFill>
                  <a:srgbClr val="941100"/>
                </a:solidFill>
              </a:rPr>
              <a:t>:</a:t>
            </a:r>
          </a:p>
          <a:p>
            <a:pPr marL="285750" indent="-285750" algn="just">
              <a:buFontTx/>
              <a:buChar char="-"/>
            </a:pPr>
            <a:r>
              <a:rPr lang="it-IT" dirty="0">
                <a:solidFill>
                  <a:srgbClr val="941100"/>
                </a:solidFill>
              </a:rPr>
              <a:t>Conclusioni scritte P.G. (15 gg. prima)</a:t>
            </a:r>
          </a:p>
          <a:p>
            <a:pPr marL="285750" indent="-285750" algn="just">
              <a:buFontTx/>
              <a:buChar char="-"/>
            </a:pPr>
            <a:r>
              <a:rPr lang="it-IT" dirty="0">
                <a:solidFill>
                  <a:srgbClr val="941100"/>
                </a:solidFill>
              </a:rPr>
              <a:t>Memorie (5 gg. prima).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66253036-E4CF-2254-C0BF-573E6EABDCAC}"/>
              </a:ext>
            </a:extLst>
          </p:cNvPr>
          <p:cNvSpPr txBox="1"/>
          <p:nvPr/>
        </p:nvSpPr>
        <p:spPr>
          <a:xfrm>
            <a:off x="11784632" y="6381328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1845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81AAC3-A446-474D-B586-F58FC30387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082" y="188640"/>
            <a:ext cx="8807261" cy="477511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it-IT" sz="2400" dirty="0">
                <a:solidFill>
                  <a:srgbClr val="941100"/>
                </a:solidFill>
              </a:rPr>
              <a:t>LE UDIENZE E LE ADUNANZE: PRONUNCIA in c.c.</a:t>
            </a:r>
          </a:p>
        </p:txBody>
      </p:sp>
      <p:graphicFrame>
        <p:nvGraphicFramePr>
          <p:cNvPr id="6" name="Diagramma 5">
            <a:extLst>
              <a:ext uri="{FF2B5EF4-FFF2-40B4-BE49-F238E27FC236}">
                <a16:creationId xmlns:a16="http://schemas.microsoft.com/office/drawing/2014/main" id="{73D8F5E8-38A5-874D-AE74-B9967A7D4F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8144717"/>
              </p:ext>
            </p:extLst>
          </p:nvPr>
        </p:nvGraphicFramePr>
        <p:xfrm>
          <a:off x="5281317" y="997850"/>
          <a:ext cx="6935054" cy="54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Titel 1">
            <a:extLst>
              <a:ext uri="{FF2B5EF4-FFF2-40B4-BE49-F238E27FC236}">
                <a16:creationId xmlns:a16="http://schemas.microsoft.com/office/drawing/2014/main" id="{903C1C2A-53FD-BB47-A4D6-EF5935BA78C9}"/>
              </a:ext>
            </a:extLst>
          </p:cNvPr>
          <p:cNvSpPr txBox="1">
            <a:spLocks/>
          </p:cNvSpPr>
          <p:nvPr/>
        </p:nvSpPr>
        <p:spPr>
          <a:xfrm>
            <a:off x="191198" y="5134851"/>
            <a:ext cx="11809458" cy="11744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2"/>
                </a:solidFill>
                <a:latin typeface="Verdana" panose="020B0604030504040204" pitchFamily="34" charset="0"/>
                <a:ea typeface="+mj-ea"/>
                <a:cs typeface="Verdana" panose="020B0604030504040204" pitchFamily="34" charset="0"/>
              </a:defRPr>
            </a:lvl1pPr>
          </a:lstStyle>
          <a:p>
            <a:endParaRPr lang="en-US" sz="2000" b="0" cap="none" dirty="0">
              <a:latin typeface="+mn-lt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461F97E-487C-F0BC-FC79-FDE1599FCF99}"/>
              </a:ext>
            </a:extLst>
          </p:cNvPr>
          <p:cNvSpPr txBox="1"/>
          <p:nvPr/>
        </p:nvSpPr>
        <p:spPr>
          <a:xfrm>
            <a:off x="7752184" y="2330877"/>
            <a:ext cx="115212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400" dirty="0">
                <a:solidFill>
                  <a:schemeClr val="bg1"/>
                </a:solidFill>
              </a:rPr>
              <a:t>Rito camerale</a:t>
            </a:r>
          </a:p>
          <a:p>
            <a:pPr algn="ctr"/>
            <a:r>
              <a:rPr lang="it-IT" sz="1400" b="1" dirty="0">
                <a:solidFill>
                  <a:schemeClr val="bg1"/>
                </a:solidFill>
              </a:rPr>
              <a:t>(Art. 380 </a:t>
            </a:r>
            <a:r>
              <a:rPr lang="it-IT" sz="1400" b="1" i="1" dirty="0">
                <a:solidFill>
                  <a:schemeClr val="bg1"/>
                </a:solidFill>
              </a:rPr>
              <a:t>bis</a:t>
            </a:r>
            <a:r>
              <a:rPr lang="it-IT" sz="1400" b="1" dirty="0">
                <a:solidFill>
                  <a:schemeClr val="bg1"/>
                </a:solidFill>
              </a:rPr>
              <a:t>.1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A13F1DE4-1791-969F-FF9F-7D2821C42433}"/>
              </a:ext>
            </a:extLst>
          </p:cNvPr>
          <p:cNvSpPr txBox="1"/>
          <p:nvPr/>
        </p:nvSpPr>
        <p:spPr>
          <a:xfrm>
            <a:off x="839416" y="2008094"/>
            <a:ext cx="640871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it-IT" dirty="0">
                <a:solidFill>
                  <a:srgbClr val="941100"/>
                </a:solidFill>
              </a:rPr>
              <a:t>La «Riforma» unifica i riti e in ossequio alla nomofilachia riafferma la centralità dell’udienza pubblica che viene riservata alle sole questioni rilevanti; anche le SS.UU. decideranno con adunanza camerale tutte le volte che non ricorreranno in concreto questioni di massima di particolare importanza (per es. in casi di giurisdizione non controversi).</a:t>
            </a:r>
            <a:endParaRPr lang="it-IT" sz="1600" b="1" dirty="0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2074B821-5AB3-A505-E3D4-2387EA48A919}"/>
              </a:ext>
            </a:extLst>
          </p:cNvPr>
          <p:cNvSpPr txBox="1"/>
          <p:nvPr/>
        </p:nvSpPr>
        <p:spPr>
          <a:xfrm>
            <a:off x="11815482" y="6508376"/>
            <a:ext cx="25039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49C93-043E-1946-99C3-1562491FBCE9}" type="slidenum">
              <a:rPr kumimoji="0" lang="it-IT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lang="it-IT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5905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| CHAPTER | CLOSING">
  <a:themeElements>
    <a:clrScheme name="ADVANT">
      <a:dk1>
        <a:srgbClr val="000000"/>
      </a:dk1>
      <a:lt1>
        <a:srgbClr val="FFFFFF"/>
      </a:lt1>
      <a:dk2>
        <a:srgbClr val="AC1938"/>
      </a:dk2>
      <a:lt2>
        <a:srgbClr val="646363"/>
      </a:lt2>
      <a:accent1>
        <a:srgbClr val="494949"/>
      </a:accent1>
      <a:accent2>
        <a:srgbClr val="7B7B79"/>
      </a:accent2>
      <a:accent3>
        <a:srgbClr val="A7A7A8"/>
      </a:accent3>
      <a:accent4>
        <a:srgbClr val="800026"/>
      </a:accent4>
      <a:accent5>
        <a:srgbClr val="A90036"/>
      </a:accent5>
      <a:accent6>
        <a:srgbClr val="E5A5A7"/>
      </a:accent6>
      <a:hlink>
        <a:srgbClr val="D3797E"/>
      </a:hlink>
      <a:folHlink>
        <a:srgbClr val="919292"/>
      </a:folHlink>
    </a:clrScheme>
    <a:fontScheme name="Advant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ENT">
  <a:themeElements>
    <a:clrScheme name="ADVANT">
      <a:dk1>
        <a:srgbClr val="000000"/>
      </a:dk1>
      <a:lt1>
        <a:srgbClr val="FFFFFF"/>
      </a:lt1>
      <a:dk2>
        <a:srgbClr val="AC1938"/>
      </a:dk2>
      <a:lt2>
        <a:srgbClr val="646363"/>
      </a:lt2>
      <a:accent1>
        <a:srgbClr val="494949"/>
      </a:accent1>
      <a:accent2>
        <a:srgbClr val="7B7B79"/>
      </a:accent2>
      <a:accent3>
        <a:srgbClr val="A7A7A8"/>
      </a:accent3>
      <a:accent4>
        <a:srgbClr val="800026"/>
      </a:accent4>
      <a:accent5>
        <a:srgbClr val="A90036"/>
      </a:accent5>
      <a:accent6>
        <a:srgbClr val="E5A5A7"/>
      </a:accent6>
      <a:hlink>
        <a:srgbClr val="D3797E"/>
      </a:hlink>
      <a:folHlink>
        <a:srgbClr val="919292"/>
      </a:folHlink>
    </a:clrScheme>
    <a:fontScheme name="Advant">
      <a:majorFont>
        <a:latin typeface="Verdana Bold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��< ? x m l   v e r s i o n = " 1 . 0 "   e n c o d i n g = " u t f - 1 6 " ? > < p r o p e r t i e s   x m l n s = " h t t p : / / w w w . i m a n a g e . c o m / w o r k / x m l s c h e m a " >  
     < d o c u m e n t i d > D M S _ L i v e ! 8 3 7 6 8 0 9 . 2 < / d o c u m e n t i d >  
     < s e n d e r i d > C K A I S E R < / s e n d e r i d >  
     < s e n d e r e m a i l > C H R I S T I N E . K A I S E R @ B B L A W . C O M < / s e n d e r e m a i l >  
     < l a s t m o d i f i e d > 2 0 2 1 - 0 6 - 1 5 T 0 8 : 4 8 : 5 2 . 0 0 0 0 0 0 0 + 0 2 : 0 0 < / l a s t m o d i f i e d >  
     < d a t a b a s e > D M S _ L i v e < / d a t a b a s e >  
 < / p r o p e r t i e s > 
</file>

<file path=customXml/itemProps1.xml><?xml version="1.0" encoding="utf-8"?>
<ds:datastoreItem xmlns:ds="http://schemas.openxmlformats.org/officeDocument/2006/customXml" ds:itemID="{9EC8155C-3146-E84F-B0A7-2EAEDCF11722}">
  <ds:schemaRefs>
    <ds:schemaRef ds:uri="http://www.imanage.com/work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93</TotalTime>
  <Words>2737</Words>
  <Application>Microsoft Macintosh PowerPoint</Application>
  <PresentationFormat>Widescreen</PresentationFormat>
  <Paragraphs>244</Paragraphs>
  <Slides>16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6</vt:i4>
      </vt:variant>
    </vt:vector>
  </HeadingPairs>
  <TitlesOfParts>
    <vt:vector size="24" baseType="lpstr">
      <vt:lpstr>Arial</vt:lpstr>
      <vt:lpstr>Calibri</vt:lpstr>
      <vt:lpstr>Verdana</vt:lpstr>
      <vt:lpstr>Verdana Bold</vt:lpstr>
      <vt:lpstr>Wingdings</vt:lpstr>
      <vt:lpstr>TITLE | CHAPTER | CLOSING</vt:lpstr>
      <vt:lpstr>CONTENT</vt:lpstr>
      <vt:lpstr>think-cell Folie</vt:lpstr>
      <vt:lpstr> Questioni nuove e controverse in tema di giudizio di appello e di legittimità dopo la riforma Cartabia   ASSOCIAZIONE RAGIONE &amp; DIRITTO 5 giugno 2023    RIFORMA DEL GIUDIZIO DI CASSAZIONE artt. 369/380 ter artt. 390 e 391 bis </vt:lpstr>
      <vt:lpstr>Presentazione standard di PowerPoint</vt:lpstr>
      <vt:lpstr>I DEPOSITI (1/2)</vt:lpstr>
      <vt:lpstr>I DEPOSITI (2/2)</vt:lpstr>
      <vt:lpstr>LE UDIENZE E LE ADUNANZE: DIFFERENZE</vt:lpstr>
      <vt:lpstr>LE UDIENZE E LE ADUNANZE: ASSEGNAZIONE E FISSAZIONE</vt:lpstr>
      <vt:lpstr>LE UDIENZE E LE ADUNANZE: COMUNICAZIONI DI CANCELLERIA</vt:lpstr>
      <vt:lpstr>LE UDIENZE E LE ADUNANZE: la discussione e L’UDIENZA PUBBLICA CAMERALIZZATA</vt:lpstr>
      <vt:lpstr>LE UDIENZE E LE ADUNANZE: PRONUNCIA in c.c.</vt:lpstr>
      <vt:lpstr>LE UDIENZE E LE ADUNANZE: istanze di regolamento di giurisdizione e di competenza</vt:lpstr>
      <vt:lpstr>LE UDIENZE E LE ADUNANZE: CORREZIONE DI ERRORI MATERIALI E REVOCAZIONE</vt:lpstr>
      <vt:lpstr>Disciplina transitoria</vt:lpstr>
      <vt:lpstr>Disciplina transitoria</vt:lpstr>
      <vt:lpstr>PROVVEDIMENTI DI INDIRIZZO E RELAZIONI DELLA S.C.</vt:lpstr>
      <vt:lpstr>RECENTI CONTRIBUTI GIURISPRUDENZIALI</vt:lpstr>
      <vt:lpstr>GRAZIE PER L’ATTENZIO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Anna Mamontova</dc:creator>
  <cp:lastModifiedBy>Iolanda Boccia</cp:lastModifiedBy>
  <cp:revision>631</cp:revision>
  <cp:lastPrinted>2023-02-13T16:07:48Z</cp:lastPrinted>
  <dcterms:created xsi:type="dcterms:W3CDTF">2021-01-21T10:14:57Z</dcterms:created>
  <dcterms:modified xsi:type="dcterms:W3CDTF">2023-06-03T13:50:30Z</dcterms:modified>
</cp:coreProperties>
</file>